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tiff" ContentType="image/tiff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theme/theme3.xml" ContentType="application/vnd.openxmlformats-officedocument.theme+xml"/>
  <Override PartName="/ppt/tags/tag48.xml" ContentType="application/vnd.openxmlformats-officedocument.presentationml.tags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theme/theme4.xml" ContentType="application/vnd.openxmlformats-officedocument.them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theme/theme5.xml" ContentType="application/vnd.openxmlformats-officedocument.them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notesSlides/notesSlide1.xml" ContentType="application/vnd.openxmlformats-officedocument.presentationml.notesSlide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notesSlides/notesSlide2.xml" ContentType="application/vnd.openxmlformats-officedocument.presentationml.notesSlide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notesSlides/notesSlide3.xml" ContentType="application/vnd.openxmlformats-officedocument.presentationml.notesSlide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notesSlides/notesSlide4.xml" ContentType="application/vnd.openxmlformats-officedocument.presentationml.notesSlide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notesSlides/notesSlide5.xml" ContentType="application/vnd.openxmlformats-officedocument.presentationml.notesSlide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notesSlides/notesSlide6.xml" ContentType="application/vnd.openxmlformats-officedocument.presentationml.notesSlide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notesSlides/notesSlide7.xml" ContentType="application/vnd.openxmlformats-officedocument.presentationml.notesSlide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notesSlides/notesSlide8.xml" ContentType="application/vnd.openxmlformats-officedocument.presentationml.notesSlide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notesSlides/notesSlide9.xml" ContentType="application/vnd.openxmlformats-officedocument.presentationml.notesSlide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notesSlides/notesSlide10.xml" ContentType="application/vnd.openxmlformats-officedocument.presentationml.notesSlide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notesSlides/notesSlide11.xml" ContentType="application/vnd.openxmlformats-officedocument.presentationml.notesSlide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notesSlides/notesSlide12.xml" ContentType="application/vnd.openxmlformats-officedocument.presentationml.notesSlide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notesSlides/notesSlide13.xml" ContentType="application/vnd.openxmlformats-officedocument.presentationml.notesSlide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notesSlides/notesSlide14.xml" ContentType="application/vnd.openxmlformats-officedocument.presentationml.notesSlide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notesSlides/notesSlide15.xml" ContentType="application/vnd.openxmlformats-officedocument.presentationml.notesSlide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notesSlides/notesSlide16.xml" ContentType="application/vnd.openxmlformats-officedocument.presentationml.notesSlide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notesSlides/notesSlide17.xml" ContentType="application/vnd.openxmlformats-officedocument.presentationml.notesSlide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notesSlides/notesSlide18.xml" ContentType="application/vnd.openxmlformats-officedocument.presentationml.notesSlide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notesSlides/notesSlide19.xml" ContentType="application/vnd.openxmlformats-officedocument.presentationml.notesSlide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notesSlides/notesSlide20.xml" ContentType="application/vnd.openxmlformats-officedocument.presentationml.notesSlide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notesSlides/notesSlide21.xml" ContentType="application/vnd.openxmlformats-officedocument.presentationml.notesSlide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notesSlides/notesSlide22.xml" ContentType="application/vnd.openxmlformats-officedocument.presentationml.notesSlide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notesSlides/notesSlide23.xml" ContentType="application/vnd.openxmlformats-officedocument.presentationml.notesSlide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notesSlides/notesSlide24.xml" ContentType="application/vnd.openxmlformats-officedocument.presentationml.notesSlide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notesSlides/notesSlide25.xml" ContentType="application/vnd.openxmlformats-officedocument.presentationml.notesSlide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notesSlides/notesSlide26.xml" ContentType="application/vnd.openxmlformats-officedocument.presentationml.notesSlide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notesSlides/notesSlide27.xml" ContentType="application/vnd.openxmlformats-officedocument.presentationml.notesSlide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57" r:id="rId4"/>
    <p:sldMasterId id="2147483721" r:id="rId5"/>
    <p:sldMasterId id="2147483800" r:id="rId6"/>
    <p:sldMasterId id="2147484037" r:id="rId7"/>
    <p:sldMasterId id="2147484050" r:id="rId8"/>
    <p:sldMasterId id="2147484063" r:id="rId9"/>
  </p:sldMasterIdLst>
  <p:notesMasterIdLst>
    <p:notesMasterId r:id="rId40"/>
  </p:notesMasterIdLst>
  <p:sldIdLst>
    <p:sldId id="1955" r:id="rId10"/>
    <p:sldId id="1957" r:id="rId11"/>
    <p:sldId id="1958" r:id="rId12"/>
    <p:sldId id="1935" r:id="rId13"/>
    <p:sldId id="1936" r:id="rId14"/>
    <p:sldId id="1960" r:id="rId15"/>
    <p:sldId id="1938" r:id="rId16"/>
    <p:sldId id="1939" r:id="rId17"/>
    <p:sldId id="1940" r:id="rId18"/>
    <p:sldId id="1961" r:id="rId19"/>
    <p:sldId id="1962" r:id="rId20"/>
    <p:sldId id="1963" r:id="rId21"/>
    <p:sldId id="1944" r:id="rId22"/>
    <p:sldId id="1945" r:id="rId23"/>
    <p:sldId id="1946" r:id="rId24"/>
    <p:sldId id="1965" r:id="rId25"/>
    <p:sldId id="1966" r:id="rId26"/>
    <p:sldId id="1967" r:id="rId27"/>
    <p:sldId id="1968" r:id="rId28"/>
    <p:sldId id="1969" r:id="rId29"/>
    <p:sldId id="1970" r:id="rId30"/>
    <p:sldId id="1921" r:id="rId31"/>
    <p:sldId id="1950" r:id="rId32"/>
    <p:sldId id="1951" r:id="rId33"/>
    <p:sldId id="1973" r:id="rId34"/>
    <p:sldId id="1974" r:id="rId35"/>
    <p:sldId id="1904" r:id="rId36"/>
    <p:sldId id="1976" r:id="rId37"/>
    <p:sldId id="1977" r:id="rId38"/>
    <p:sldId id="1975" r:id="rId39"/>
  </p:sldIdLst>
  <p:sldSz cx="12193588" cy="6858000"/>
  <p:notesSz cx="6858000" cy="9144000"/>
  <p:custDataLst>
    <p:tags r:id="rId41"/>
  </p:custDataLst>
  <p:defaultTextStyle>
    <a:defPPr>
      <a:defRPr lang="es-CL"/>
    </a:defPPr>
    <a:lvl1pPr marL="0" algn="l" defTabSz="1097273" rtl="0" eaLnBrk="1" latinLnBrk="0" hangingPunct="1">
      <a:defRPr sz="2133" kern="1200">
        <a:solidFill>
          <a:schemeClr val="tx1"/>
        </a:solidFill>
        <a:latin typeface="+mn-lt"/>
        <a:ea typeface="+mn-ea"/>
        <a:cs typeface="+mn-cs"/>
      </a:defRPr>
    </a:lvl1pPr>
    <a:lvl2pPr marL="548637" algn="l" defTabSz="1097273" rtl="0" eaLnBrk="1" latinLnBrk="0" hangingPunct="1">
      <a:defRPr sz="2133" kern="1200">
        <a:solidFill>
          <a:schemeClr val="tx1"/>
        </a:solidFill>
        <a:latin typeface="+mn-lt"/>
        <a:ea typeface="+mn-ea"/>
        <a:cs typeface="+mn-cs"/>
      </a:defRPr>
    </a:lvl2pPr>
    <a:lvl3pPr marL="1097273" algn="l" defTabSz="1097273" rtl="0" eaLnBrk="1" latinLnBrk="0" hangingPunct="1">
      <a:defRPr sz="2133" kern="1200">
        <a:solidFill>
          <a:schemeClr val="tx1"/>
        </a:solidFill>
        <a:latin typeface="+mn-lt"/>
        <a:ea typeface="+mn-ea"/>
        <a:cs typeface="+mn-cs"/>
      </a:defRPr>
    </a:lvl3pPr>
    <a:lvl4pPr marL="1645910" algn="l" defTabSz="1097273" rtl="0" eaLnBrk="1" latinLnBrk="0" hangingPunct="1">
      <a:defRPr sz="2133" kern="1200">
        <a:solidFill>
          <a:schemeClr val="tx1"/>
        </a:solidFill>
        <a:latin typeface="+mn-lt"/>
        <a:ea typeface="+mn-ea"/>
        <a:cs typeface="+mn-cs"/>
      </a:defRPr>
    </a:lvl4pPr>
    <a:lvl5pPr marL="2194546" algn="l" defTabSz="1097273" rtl="0" eaLnBrk="1" latinLnBrk="0" hangingPunct="1">
      <a:defRPr sz="2133" kern="1200">
        <a:solidFill>
          <a:schemeClr val="tx1"/>
        </a:solidFill>
        <a:latin typeface="+mn-lt"/>
        <a:ea typeface="+mn-ea"/>
        <a:cs typeface="+mn-cs"/>
      </a:defRPr>
    </a:lvl5pPr>
    <a:lvl6pPr marL="2743183" algn="l" defTabSz="1097273" rtl="0" eaLnBrk="1" latinLnBrk="0" hangingPunct="1">
      <a:defRPr sz="2133" kern="1200">
        <a:solidFill>
          <a:schemeClr val="tx1"/>
        </a:solidFill>
        <a:latin typeface="+mn-lt"/>
        <a:ea typeface="+mn-ea"/>
        <a:cs typeface="+mn-cs"/>
      </a:defRPr>
    </a:lvl6pPr>
    <a:lvl7pPr marL="3291819" algn="l" defTabSz="1097273" rtl="0" eaLnBrk="1" latinLnBrk="0" hangingPunct="1">
      <a:defRPr sz="2133" kern="1200">
        <a:solidFill>
          <a:schemeClr val="tx1"/>
        </a:solidFill>
        <a:latin typeface="+mn-lt"/>
        <a:ea typeface="+mn-ea"/>
        <a:cs typeface="+mn-cs"/>
      </a:defRPr>
    </a:lvl7pPr>
    <a:lvl8pPr marL="3840456" algn="l" defTabSz="1097273" rtl="0" eaLnBrk="1" latinLnBrk="0" hangingPunct="1">
      <a:defRPr sz="2133" kern="1200">
        <a:solidFill>
          <a:schemeClr val="tx1"/>
        </a:solidFill>
        <a:latin typeface="+mn-lt"/>
        <a:ea typeface="+mn-ea"/>
        <a:cs typeface="+mn-cs"/>
      </a:defRPr>
    </a:lvl8pPr>
    <a:lvl9pPr marL="4389093" algn="l" defTabSz="1097273" rtl="0" eaLnBrk="1" latinLnBrk="0" hangingPunct="1">
      <a:defRPr sz="2133" kern="1200">
        <a:solidFill>
          <a:schemeClr val="tx1"/>
        </a:solidFill>
        <a:latin typeface="+mn-lt"/>
        <a:ea typeface="+mn-ea"/>
        <a:cs typeface="+mn-cs"/>
      </a:defRPr>
    </a:lvl9pPr>
  </p:defaultTextStyle>
  <p:modifyVerifier cryptProviderType="rsaAES" cryptAlgorithmClass="hash" cryptAlgorithmType="typeAny" cryptAlgorithmSid="14" spinCount="100000" saltData="un3EL9KiU09jLqMsKSI3iQ==" hashData="sKT3LeB5EUFdMff0CskbagOUN1hQz/x8tVdPe99j+2SMJ5NADpkjuqEhV3hT8xhNft7ZuqMJfTUGgN7koKpdzQ=="/>
  <p:extLst>
    <p:ext uri="{EFAFB233-063F-42B5-8137-9DF3F51BA10A}">
      <p15:sldGuideLst xmlns:p15="http://schemas.microsoft.com/office/powerpoint/2012/main">
        <p15:guide id="8" pos="3750" userDrawn="1">
          <p15:clr>
            <a:srgbClr val="A4A3A4"/>
          </p15:clr>
        </p15:guide>
        <p15:guide id="9" pos="7401" userDrawn="1">
          <p15:clr>
            <a:srgbClr val="A4A3A4"/>
          </p15:clr>
        </p15:guide>
        <p15:guide id="10" pos="384" userDrawn="1">
          <p15:clr>
            <a:srgbClr val="A4A3A4"/>
          </p15:clr>
        </p15:guide>
        <p15:guide id="11" orient="horz" pos="2115" userDrawn="1">
          <p15:clr>
            <a:srgbClr val="A4A3A4"/>
          </p15:clr>
        </p15:guide>
        <p15:guide id="12" pos="3598" userDrawn="1">
          <p15:clr>
            <a:srgbClr val="A4A3A4"/>
          </p15:clr>
        </p15:guide>
        <p15:guide id="13" orient="horz" pos="3203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5BF45"/>
    <a:srgbClr val="E9EADD"/>
    <a:srgbClr val="00B050"/>
    <a:srgbClr val="0C662F"/>
    <a:srgbClr val="004B54"/>
    <a:srgbClr val="83B827"/>
    <a:srgbClr val="8D004C"/>
    <a:srgbClr val="179188"/>
    <a:srgbClr val="00454C"/>
    <a:srgbClr val="004D5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B344D84-9AFB-497E-A393-DC336BA19D2E}" styleName="Estilo medio 3 - Énfasis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EB9631B5-78F2-41C9-869B-9F39066F8104}" styleName="Estilo medio 3 - Énfasis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B301B821-A1FF-4177-AEE7-76D212191A09}" styleName="Estilo medio 1 - Énfasis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793D81CF-94F2-401A-BA57-92F5A7B2D0C5}" styleName="Estilo medio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5202B0CA-FC54-4496-8BCA-5EF66A818D29}" styleName="Estilo oscuro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562" autoAdjust="0"/>
    <p:restoredTop sz="95273" autoAdjust="0"/>
  </p:normalViewPr>
  <p:slideViewPr>
    <p:cSldViewPr>
      <p:cViewPr varScale="1">
        <p:scale>
          <a:sx n="74" d="100"/>
          <a:sy n="74" d="100"/>
        </p:scale>
        <p:origin x="244" y="48"/>
      </p:cViewPr>
      <p:guideLst>
        <p:guide pos="3750"/>
        <p:guide pos="7401"/>
        <p:guide pos="384"/>
        <p:guide orient="horz" pos="2115"/>
        <p:guide pos="3598"/>
        <p:guide orient="horz" pos="3203"/>
      </p:guideLst>
    </p:cSldViewPr>
  </p:slideViewPr>
  <p:outlineViewPr>
    <p:cViewPr>
      <p:scale>
        <a:sx n="33" d="100"/>
        <a:sy n="33" d="100"/>
      </p:scale>
      <p:origin x="0" y="402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50" d="100"/>
        <a:sy n="150" d="100"/>
      </p:scale>
      <p:origin x="0" y="-22702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slide" Target="slides/slide17.xml"/><Relationship Id="rId39" Type="http://schemas.openxmlformats.org/officeDocument/2006/relationships/slide" Target="slides/slide30.xml"/><Relationship Id="rId3" Type="http://schemas.openxmlformats.org/officeDocument/2006/relationships/customXml" Target="../customXml/item3.xml"/><Relationship Id="rId21" Type="http://schemas.openxmlformats.org/officeDocument/2006/relationships/slide" Target="slides/slide12.xml"/><Relationship Id="rId34" Type="http://schemas.openxmlformats.org/officeDocument/2006/relationships/slide" Target="slides/slide25.xml"/><Relationship Id="rId42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slide" Target="slides/slide16.xml"/><Relationship Id="rId33" Type="http://schemas.openxmlformats.org/officeDocument/2006/relationships/slide" Target="slides/slide24.xml"/><Relationship Id="rId38" Type="http://schemas.openxmlformats.org/officeDocument/2006/relationships/slide" Target="slides/slide29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0" Type="http://schemas.openxmlformats.org/officeDocument/2006/relationships/slide" Target="slides/slide11.xml"/><Relationship Id="rId29" Type="http://schemas.openxmlformats.org/officeDocument/2006/relationships/slide" Target="slides/slide20.xml"/><Relationship Id="rId41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32" Type="http://schemas.openxmlformats.org/officeDocument/2006/relationships/slide" Target="slides/slide23.xml"/><Relationship Id="rId37" Type="http://schemas.openxmlformats.org/officeDocument/2006/relationships/slide" Target="slides/slide28.xml"/><Relationship Id="rId40" Type="http://schemas.openxmlformats.org/officeDocument/2006/relationships/notesMaster" Target="notesMasters/notesMaster1.xml"/><Relationship Id="rId45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slide" Target="slides/slide19.xml"/><Relationship Id="rId36" Type="http://schemas.openxmlformats.org/officeDocument/2006/relationships/slide" Target="slides/slide27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31" Type="http://schemas.openxmlformats.org/officeDocument/2006/relationships/slide" Target="slides/slide22.xml"/><Relationship Id="rId44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slide" Target="slides/slide18.xml"/><Relationship Id="rId30" Type="http://schemas.openxmlformats.org/officeDocument/2006/relationships/slide" Target="slides/slide21.xml"/><Relationship Id="rId35" Type="http://schemas.openxmlformats.org/officeDocument/2006/relationships/slide" Target="slides/slide26.xml"/><Relationship Id="rId43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6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6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6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6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L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819BDEC-D5F1-48D1-BE8A-46E3339F7C0E}" type="datetimeFigureOut">
              <a:rPr lang="es-CL" smtClean="0"/>
              <a:t>04-02-2025</a:t>
            </a:fld>
            <a:endParaRPr lang="es-CL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CL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L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3BD9BE5-650B-45F0-8090-C917A3048331}" type="slidenum">
              <a:rPr lang="es-CL" smtClean="0"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6641963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97273" rtl="0" eaLnBrk="1" latinLnBrk="0" hangingPunct="1">
      <a:defRPr sz="1448" kern="1200">
        <a:solidFill>
          <a:schemeClr val="tx1"/>
        </a:solidFill>
        <a:latin typeface="+mn-lt"/>
        <a:ea typeface="+mn-ea"/>
        <a:cs typeface="+mn-cs"/>
      </a:defRPr>
    </a:lvl1pPr>
    <a:lvl2pPr marL="548637" algn="l" defTabSz="1097273" rtl="0" eaLnBrk="1" latinLnBrk="0" hangingPunct="1">
      <a:defRPr sz="1448" kern="1200">
        <a:solidFill>
          <a:schemeClr val="tx1"/>
        </a:solidFill>
        <a:latin typeface="+mn-lt"/>
        <a:ea typeface="+mn-ea"/>
        <a:cs typeface="+mn-cs"/>
      </a:defRPr>
    </a:lvl2pPr>
    <a:lvl3pPr marL="1097273" algn="l" defTabSz="1097273" rtl="0" eaLnBrk="1" latinLnBrk="0" hangingPunct="1">
      <a:defRPr sz="1448" kern="1200">
        <a:solidFill>
          <a:schemeClr val="tx1"/>
        </a:solidFill>
        <a:latin typeface="+mn-lt"/>
        <a:ea typeface="+mn-ea"/>
        <a:cs typeface="+mn-cs"/>
      </a:defRPr>
    </a:lvl3pPr>
    <a:lvl4pPr marL="1645910" algn="l" defTabSz="1097273" rtl="0" eaLnBrk="1" latinLnBrk="0" hangingPunct="1">
      <a:defRPr sz="1448" kern="1200">
        <a:solidFill>
          <a:schemeClr val="tx1"/>
        </a:solidFill>
        <a:latin typeface="+mn-lt"/>
        <a:ea typeface="+mn-ea"/>
        <a:cs typeface="+mn-cs"/>
      </a:defRPr>
    </a:lvl4pPr>
    <a:lvl5pPr marL="2194546" algn="l" defTabSz="1097273" rtl="0" eaLnBrk="1" latinLnBrk="0" hangingPunct="1">
      <a:defRPr sz="1448" kern="1200">
        <a:solidFill>
          <a:schemeClr val="tx1"/>
        </a:solidFill>
        <a:latin typeface="+mn-lt"/>
        <a:ea typeface="+mn-ea"/>
        <a:cs typeface="+mn-cs"/>
      </a:defRPr>
    </a:lvl5pPr>
    <a:lvl6pPr marL="2743183" algn="l" defTabSz="1097273" rtl="0" eaLnBrk="1" latinLnBrk="0" hangingPunct="1">
      <a:defRPr sz="1448" kern="1200">
        <a:solidFill>
          <a:schemeClr val="tx1"/>
        </a:solidFill>
        <a:latin typeface="+mn-lt"/>
        <a:ea typeface="+mn-ea"/>
        <a:cs typeface="+mn-cs"/>
      </a:defRPr>
    </a:lvl6pPr>
    <a:lvl7pPr marL="3291819" algn="l" defTabSz="1097273" rtl="0" eaLnBrk="1" latinLnBrk="0" hangingPunct="1">
      <a:defRPr sz="1448" kern="1200">
        <a:solidFill>
          <a:schemeClr val="tx1"/>
        </a:solidFill>
        <a:latin typeface="+mn-lt"/>
        <a:ea typeface="+mn-ea"/>
        <a:cs typeface="+mn-cs"/>
      </a:defRPr>
    </a:lvl7pPr>
    <a:lvl8pPr marL="3840456" algn="l" defTabSz="1097273" rtl="0" eaLnBrk="1" latinLnBrk="0" hangingPunct="1">
      <a:defRPr sz="1448" kern="1200">
        <a:solidFill>
          <a:schemeClr val="tx1"/>
        </a:solidFill>
        <a:latin typeface="+mn-lt"/>
        <a:ea typeface="+mn-ea"/>
        <a:cs typeface="+mn-cs"/>
      </a:defRPr>
    </a:lvl8pPr>
    <a:lvl9pPr marL="4389093" algn="l" defTabSz="1097273" rtl="0" eaLnBrk="1" latinLnBrk="0" hangingPunct="1">
      <a:defRPr sz="1448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6D50BD5-19AB-4EED-8D66-56BE71A9253E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s-CL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9402473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400">
              <a:defRPr/>
            </a:pPr>
            <a:fld id="{66D50BD5-19AB-4EED-8D66-56BE71A9253E}" type="slidenum">
              <a:rPr lang="es-CL" smtClean="0">
                <a:solidFill>
                  <a:prstClr val="black"/>
                </a:solidFill>
                <a:cs typeface="Arial"/>
                <a:sym typeface="Arial"/>
              </a:rPr>
              <a:pPr defTabSz="914400">
                <a:defRPr/>
              </a:pPr>
              <a:t>10</a:t>
            </a:fld>
            <a:endParaRPr lang="es-CL" dirty="0">
              <a:solidFill>
                <a:prstClr val="black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0228343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400">
              <a:defRPr/>
            </a:pPr>
            <a:fld id="{66D50BD5-19AB-4EED-8D66-56BE71A9253E}" type="slidenum">
              <a:rPr lang="es-CL" smtClean="0">
                <a:solidFill>
                  <a:prstClr val="black"/>
                </a:solidFill>
                <a:cs typeface="Arial"/>
                <a:sym typeface="Arial"/>
              </a:rPr>
              <a:pPr defTabSz="914400">
                <a:defRPr/>
              </a:pPr>
              <a:t>11</a:t>
            </a:fld>
            <a:endParaRPr lang="es-CL" dirty="0">
              <a:solidFill>
                <a:prstClr val="black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244815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400">
              <a:defRPr/>
            </a:pPr>
            <a:fld id="{66D50BD5-19AB-4EED-8D66-56BE71A9253E}" type="slidenum">
              <a:rPr lang="es-CL" smtClean="0">
                <a:solidFill>
                  <a:prstClr val="black"/>
                </a:solidFill>
                <a:cs typeface="Arial"/>
                <a:sym typeface="Arial"/>
              </a:rPr>
              <a:pPr defTabSz="914400">
                <a:defRPr/>
              </a:pPr>
              <a:t>12</a:t>
            </a:fld>
            <a:endParaRPr lang="es-CL" dirty="0">
              <a:solidFill>
                <a:prstClr val="black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9923193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400">
              <a:defRPr/>
            </a:pPr>
            <a:fld id="{66D50BD5-19AB-4EED-8D66-56BE71A9253E}" type="slidenum">
              <a:rPr lang="es-CL" smtClean="0">
                <a:solidFill>
                  <a:prstClr val="black"/>
                </a:solidFill>
                <a:cs typeface="Arial"/>
                <a:sym typeface="Arial"/>
              </a:rPr>
              <a:pPr defTabSz="914400">
                <a:defRPr/>
              </a:pPr>
              <a:t>13</a:t>
            </a:fld>
            <a:endParaRPr lang="es-CL" dirty="0">
              <a:solidFill>
                <a:prstClr val="black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7838679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400">
              <a:defRPr/>
            </a:pPr>
            <a:fld id="{66D50BD5-19AB-4EED-8D66-56BE71A9253E}" type="slidenum">
              <a:rPr lang="es-CL" smtClean="0">
                <a:solidFill>
                  <a:prstClr val="black"/>
                </a:solidFill>
                <a:cs typeface="Arial"/>
                <a:sym typeface="Arial"/>
              </a:rPr>
              <a:pPr defTabSz="914400">
                <a:defRPr/>
              </a:pPr>
              <a:t>14</a:t>
            </a:fld>
            <a:endParaRPr lang="es-CL" dirty="0">
              <a:solidFill>
                <a:prstClr val="black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9808830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400">
              <a:defRPr/>
            </a:pPr>
            <a:fld id="{66D50BD5-19AB-4EED-8D66-56BE71A9253E}" type="slidenum">
              <a:rPr lang="es-CL" smtClean="0">
                <a:solidFill>
                  <a:prstClr val="black"/>
                </a:solidFill>
                <a:cs typeface="Arial"/>
                <a:sym typeface="Arial"/>
              </a:rPr>
              <a:pPr defTabSz="914400">
                <a:defRPr/>
              </a:pPr>
              <a:t>15</a:t>
            </a:fld>
            <a:endParaRPr lang="es-CL" dirty="0">
              <a:solidFill>
                <a:prstClr val="black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4221234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400">
              <a:defRPr/>
            </a:pPr>
            <a:fld id="{66D50BD5-19AB-4EED-8D66-56BE71A9253E}" type="slidenum">
              <a:rPr lang="es-CL" smtClean="0">
                <a:solidFill>
                  <a:prstClr val="black"/>
                </a:solidFill>
                <a:cs typeface="Arial"/>
                <a:sym typeface="Arial"/>
              </a:rPr>
              <a:pPr defTabSz="914400">
                <a:defRPr/>
              </a:pPr>
              <a:t>16</a:t>
            </a:fld>
            <a:endParaRPr lang="es-CL" dirty="0">
              <a:solidFill>
                <a:prstClr val="black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3242648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400">
              <a:defRPr/>
            </a:pPr>
            <a:fld id="{66D50BD5-19AB-4EED-8D66-56BE71A9253E}" type="slidenum">
              <a:rPr lang="es-CL" smtClean="0">
                <a:solidFill>
                  <a:prstClr val="black"/>
                </a:solidFill>
                <a:cs typeface="Arial"/>
                <a:sym typeface="Arial"/>
              </a:rPr>
              <a:pPr defTabSz="914400">
                <a:defRPr/>
              </a:pPr>
              <a:t>17</a:t>
            </a:fld>
            <a:endParaRPr lang="es-CL" dirty="0">
              <a:solidFill>
                <a:prstClr val="black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2082637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400">
              <a:defRPr/>
            </a:pPr>
            <a:fld id="{66D50BD5-19AB-4EED-8D66-56BE71A9253E}" type="slidenum">
              <a:rPr lang="es-CL" smtClean="0">
                <a:solidFill>
                  <a:prstClr val="black"/>
                </a:solidFill>
                <a:cs typeface="Arial"/>
                <a:sym typeface="Arial"/>
              </a:rPr>
              <a:pPr defTabSz="914400">
                <a:defRPr/>
              </a:pPr>
              <a:t>18</a:t>
            </a:fld>
            <a:endParaRPr lang="es-CL" dirty="0">
              <a:solidFill>
                <a:prstClr val="black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3505033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400">
              <a:defRPr/>
            </a:pPr>
            <a:fld id="{66D50BD5-19AB-4EED-8D66-56BE71A9253E}" type="slidenum">
              <a:rPr lang="es-CL" smtClean="0">
                <a:solidFill>
                  <a:prstClr val="black"/>
                </a:solidFill>
                <a:cs typeface="Arial"/>
                <a:sym typeface="Arial"/>
              </a:rPr>
              <a:pPr defTabSz="914400">
                <a:defRPr/>
              </a:pPr>
              <a:t>19</a:t>
            </a:fld>
            <a:endParaRPr lang="es-CL" dirty="0">
              <a:solidFill>
                <a:prstClr val="black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2660337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6D50BD5-19AB-4EED-8D66-56BE71A9253E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s-CL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4874668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400">
              <a:defRPr/>
            </a:pPr>
            <a:fld id="{66D50BD5-19AB-4EED-8D66-56BE71A9253E}" type="slidenum">
              <a:rPr lang="es-CL" smtClean="0">
                <a:solidFill>
                  <a:prstClr val="black"/>
                </a:solidFill>
                <a:cs typeface="Arial"/>
                <a:sym typeface="Arial"/>
              </a:rPr>
              <a:pPr defTabSz="914400">
                <a:defRPr/>
              </a:pPr>
              <a:t>20</a:t>
            </a:fld>
            <a:endParaRPr lang="es-CL" dirty="0">
              <a:solidFill>
                <a:prstClr val="black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8639296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400">
              <a:defRPr/>
            </a:pPr>
            <a:fld id="{66D50BD5-19AB-4EED-8D66-56BE71A9253E}" type="slidenum">
              <a:rPr lang="es-CL" smtClean="0">
                <a:solidFill>
                  <a:prstClr val="black"/>
                </a:solidFill>
                <a:cs typeface="Arial"/>
                <a:sym typeface="Arial"/>
              </a:rPr>
              <a:pPr defTabSz="914400">
                <a:defRPr/>
              </a:pPr>
              <a:t>21</a:t>
            </a:fld>
            <a:endParaRPr lang="es-CL" dirty="0">
              <a:solidFill>
                <a:prstClr val="black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2462340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400">
              <a:defRPr/>
            </a:pPr>
            <a:fld id="{66D50BD5-19AB-4EED-8D66-56BE71A9253E}" type="slidenum">
              <a:rPr lang="es-CL" smtClean="0">
                <a:solidFill>
                  <a:prstClr val="black"/>
                </a:solidFill>
                <a:cs typeface="Arial"/>
                <a:sym typeface="Arial"/>
              </a:rPr>
              <a:pPr defTabSz="914400">
                <a:defRPr/>
              </a:pPr>
              <a:t>22</a:t>
            </a:fld>
            <a:endParaRPr lang="es-CL" dirty="0">
              <a:solidFill>
                <a:prstClr val="black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6721857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400">
              <a:defRPr/>
            </a:pPr>
            <a:fld id="{66D50BD5-19AB-4EED-8D66-56BE71A9253E}" type="slidenum">
              <a:rPr lang="es-CL" smtClean="0">
                <a:solidFill>
                  <a:prstClr val="black"/>
                </a:solidFill>
                <a:cs typeface="Arial"/>
                <a:sym typeface="Arial"/>
              </a:rPr>
              <a:pPr defTabSz="914400">
                <a:defRPr/>
              </a:pPr>
              <a:t>23</a:t>
            </a:fld>
            <a:endParaRPr lang="es-CL" dirty="0">
              <a:solidFill>
                <a:prstClr val="black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22673974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400">
              <a:defRPr/>
            </a:pPr>
            <a:fld id="{66D50BD5-19AB-4EED-8D66-56BE71A9253E}" type="slidenum">
              <a:rPr lang="es-CL" smtClean="0">
                <a:solidFill>
                  <a:prstClr val="black"/>
                </a:solidFill>
                <a:cs typeface="Arial"/>
                <a:sym typeface="Arial"/>
              </a:rPr>
              <a:pPr defTabSz="914400">
                <a:defRPr/>
              </a:pPr>
              <a:t>24</a:t>
            </a:fld>
            <a:endParaRPr lang="es-CL" dirty="0">
              <a:solidFill>
                <a:prstClr val="black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5951584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400">
              <a:defRPr/>
            </a:pPr>
            <a:fld id="{66D50BD5-19AB-4EED-8D66-56BE71A9253E}" type="slidenum">
              <a:rPr lang="es-CL" smtClean="0">
                <a:solidFill>
                  <a:prstClr val="black"/>
                </a:solidFill>
                <a:cs typeface="Arial"/>
                <a:sym typeface="Arial"/>
              </a:rPr>
              <a:pPr defTabSz="914400">
                <a:defRPr/>
              </a:pPr>
              <a:t>25</a:t>
            </a:fld>
            <a:endParaRPr lang="es-CL" dirty="0">
              <a:solidFill>
                <a:prstClr val="black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34694954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400">
              <a:defRPr/>
            </a:pPr>
            <a:fld id="{66D50BD5-19AB-4EED-8D66-56BE71A9253E}" type="slidenum">
              <a:rPr lang="es-CL" smtClean="0">
                <a:solidFill>
                  <a:prstClr val="black"/>
                </a:solidFill>
                <a:cs typeface="Arial"/>
                <a:sym typeface="Arial"/>
              </a:rPr>
              <a:pPr defTabSz="914400">
                <a:defRPr/>
              </a:pPr>
              <a:t>26</a:t>
            </a:fld>
            <a:endParaRPr lang="es-CL" dirty="0">
              <a:solidFill>
                <a:prstClr val="black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46967270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ACB7CA1-92AC-534A-96DC-E6CBA5CA8CC9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s-CL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2843237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400">
              <a:defRPr/>
            </a:pPr>
            <a:fld id="{66D50BD5-19AB-4EED-8D66-56BE71A9253E}" type="slidenum">
              <a:rPr lang="es-CL" smtClean="0">
                <a:solidFill>
                  <a:prstClr val="black"/>
                </a:solidFill>
                <a:cs typeface="Arial"/>
                <a:sym typeface="Arial"/>
              </a:rPr>
              <a:pPr defTabSz="914400">
                <a:defRPr/>
              </a:pPr>
              <a:t>3</a:t>
            </a:fld>
            <a:endParaRPr lang="es-CL" dirty="0">
              <a:solidFill>
                <a:prstClr val="black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6044001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400">
              <a:defRPr/>
            </a:pPr>
            <a:fld id="{66D50BD5-19AB-4EED-8D66-56BE71A9253E}" type="slidenum">
              <a:rPr lang="es-CL" smtClean="0">
                <a:solidFill>
                  <a:prstClr val="black"/>
                </a:solidFill>
                <a:cs typeface="Arial"/>
                <a:sym typeface="Arial"/>
              </a:rPr>
              <a:pPr defTabSz="914400">
                <a:defRPr/>
              </a:pPr>
              <a:t>4</a:t>
            </a:fld>
            <a:endParaRPr lang="es-CL" dirty="0">
              <a:solidFill>
                <a:prstClr val="black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1269369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400">
              <a:defRPr/>
            </a:pPr>
            <a:fld id="{66D50BD5-19AB-4EED-8D66-56BE71A9253E}" type="slidenum">
              <a:rPr lang="es-CL" smtClean="0">
                <a:solidFill>
                  <a:prstClr val="black"/>
                </a:solidFill>
                <a:cs typeface="Arial"/>
                <a:sym typeface="Arial"/>
              </a:rPr>
              <a:pPr defTabSz="914400">
                <a:defRPr/>
              </a:pPr>
              <a:t>5</a:t>
            </a:fld>
            <a:endParaRPr lang="es-CL" dirty="0">
              <a:solidFill>
                <a:prstClr val="black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199373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400">
              <a:defRPr/>
            </a:pPr>
            <a:fld id="{66D50BD5-19AB-4EED-8D66-56BE71A9253E}" type="slidenum">
              <a:rPr lang="es-CL" smtClean="0">
                <a:solidFill>
                  <a:prstClr val="black"/>
                </a:solidFill>
                <a:cs typeface="Arial"/>
                <a:sym typeface="Arial"/>
              </a:rPr>
              <a:pPr defTabSz="914400">
                <a:defRPr/>
              </a:pPr>
              <a:t>6</a:t>
            </a:fld>
            <a:endParaRPr lang="es-CL" dirty="0">
              <a:solidFill>
                <a:prstClr val="black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7584919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400">
              <a:defRPr/>
            </a:pPr>
            <a:fld id="{66D50BD5-19AB-4EED-8D66-56BE71A9253E}" type="slidenum">
              <a:rPr lang="es-CL" smtClean="0">
                <a:solidFill>
                  <a:prstClr val="black"/>
                </a:solidFill>
                <a:cs typeface="Arial"/>
                <a:sym typeface="Arial"/>
              </a:rPr>
              <a:pPr defTabSz="914400">
                <a:defRPr/>
              </a:pPr>
              <a:t>7</a:t>
            </a:fld>
            <a:endParaRPr lang="es-CL" dirty="0">
              <a:solidFill>
                <a:prstClr val="black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4059850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400">
              <a:defRPr/>
            </a:pPr>
            <a:fld id="{66D50BD5-19AB-4EED-8D66-56BE71A9253E}" type="slidenum">
              <a:rPr lang="es-CL" smtClean="0">
                <a:solidFill>
                  <a:prstClr val="black"/>
                </a:solidFill>
                <a:cs typeface="Arial"/>
                <a:sym typeface="Arial"/>
              </a:rPr>
              <a:pPr defTabSz="914400">
                <a:defRPr/>
              </a:pPr>
              <a:t>8</a:t>
            </a:fld>
            <a:endParaRPr lang="es-CL" dirty="0">
              <a:solidFill>
                <a:prstClr val="black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3542916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400">
              <a:defRPr/>
            </a:pPr>
            <a:fld id="{66D50BD5-19AB-4EED-8D66-56BE71A9253E}" type="slidenum">
              <a:rPr lang="es-CL" smtClean="0">
                <a:solidFill>
                  <a:prstClr val="black"/>
                </a:solidFill>
                <a:cs typeface="Arial"/>
                <a:sym typeface="Arial"/>
              </a:rPr>
              <a:pPr defTabSz="914400">
                <a:defRPr/>
              </a:pPr>
              <a:t>9</a:t>
            </a:fld>
            <a:endParaRPr lang="es-CL" dirty="0">
              <a:solidFill>
                <a:prstClr val="black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513074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2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3.emf"/><Relationship Id="rId5" Type="http://schemas.openxmlformats.org/officeDocument/2006/relationships/image" Target="../media/image20.emf"/><Relationship Id="rId4" Type="http://schemas.openxmlformats.org/officeDocument/2006/relationships/oleObject" Target="../embeddings/oleObject33.bin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3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3.emf"/><Relationship Id="rId5" Type="http://schemas.openxmlformats.org/officeDocument/2006/relationships/image" Target="../media/image21.emf"/><Relationship Id="rId4" Type="http://schemas.openxmlformats.org/officeDocument/2006/relationships/oleObject" Target="../embeddings/oleObject34.bin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4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3.emf"/><Relationship Id="rId5" Type="http://schemas.openxmlformats.org/officeDocument/2006/relationships/image" Target="../media/image22.emf"/><Relationship Id="rId4" Type="http://schemas.openxmlformats.org/officeDocument/2006/relationships/oleObject" Target="../embeddings/oleObject35.bin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5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3.emf"/><Relationship Id="rId5" Type="http://schemas.openxmlformats.org/officeDocument/2006/relationships/image" Target="../media/image23.emf"/><Relationship Id="rId4" Type="http://schemas.openxmlformats.org/officeDocument/2006/relationships/oleObject" Target="../embeddings/oleObject36.bin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6.xml"/><Relationship Id="rId1" Type="http://schemas.openxmlformats.org/officeDocument/2006/relationships/vmlDrawing" Target="../drawings/vmlDrawing37.vml"/><Relationship Id="rId5" Type="http://schemas.openxmlformats.org/officeDocument/2006/relationships/image" Target="../media/image25.emf"/><Relationship Id="rId4" Type="http://schemas.openxmlformats.org/officeDocument/2006/relationships/oleObject" Target="../embeddings/oleObject37.bin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emf"/></Relationships>
</file>

<file path=ppt/slideLayouts/_rels/slideLayout121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emf"/></Relationships>
</file>

<file path=ppt/slideLayouts/_rels/slideLayout122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emf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7.jpg"/><Relationship Id="rId1" Type="http://schemas.openxmlformats.org/officeDocument/2006/relationships/slideMaster" Target="../slideMasters/slideMaster2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7.jpg"/><Relationship Id="rId1" Type="http://schemas.openxmlformats.org/officeDocument/2006/relationships/slideMaster" Target="../slideMasters/slideMaster2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7.jpg"/><Relationship Id="rId1" Type="http://schemas.openxmlformats.org/officeDocument/2006/relationships/slideMaster" Target="../slideMasters/slideMaster2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8.jpg"/><Relationship Id="rId1" Type="http://schemas.openxmlformats.org/officeDocument/2006/relationships/slideMaster" Target="../slideMasters/slideMaster2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9.jpg"/><Relationship Id="rId1" Type="http://schemas.openxmlformats.org/officeDocument/2006/relationships/slideMaster" Target="../slideMasters/slideMaster2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7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31.png"/><Relationship Id="rId5" Type="http://schemas.openxmlformats.org/officeDocument/2006/relationships/image" Target="../media/image30.emf"/><Relationship Id="rId4" Type="http://schemas.openxmlformats.org/officeDocument/2006/relationships/oleObject" Target="../embeddings/oleObject38.bin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g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4.png"/></Relationships>
</file>

<file path=ppt/slideLayouts/_rels/slideLayout136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33.jpg"/><Relationship Id="rId4" Type="http://schemas.openxmlformats.org/officeDocument/2006/relationships/image" Target="../media/image34.png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3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4.svg"/><Relationship Id="rId2" Type="http://schemas.openxmlformats.org/officeDocument/2006/relationships/tags" Target="../tags/tag50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3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1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4.svg"/><Relationship Id="rId2" Type="http://schemas.openxmlformats.org/officeDocument/2006/relationships/tags" Target="../tags/tag51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3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2.bin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4.xml"/></Relationships>
</file>

<file path=ppt/slideLayouts/_rels/slideLayout1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6.svg"/><Relationship Id="rId2" Type="http://schemas.openxmlformats.org/officeDocument/2006/relationships/tags" Target="../tags/tag52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39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3.bin"/><Relationship Id="rId9" Type="http://schemas.openxmlformats.org/officeDocument/2006/relationships/image" Target="../media/image4.svg"/></Relationships>
</file>

<file path=ppt/slideLayouts/_rels/slideLayout1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38.png"/><Relationship Id="rId2" Type="http://schemas.openxmlformats.org/officeDocument/2006/relationships/tags" Target="../tags/tag53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41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4.bin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4.svg"/><Relationship Id="rId2" Type="http://schemas.openxmlformats.org/officeDocument/2006/relationships/tags" Target="../tags/tag54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42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5.bin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9.svg"/><Relationship Id="rId2" Type="http://schemas.openxmlformats.org/officeDocument/2006/relationships/tags" Target="../tags/tag55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43.png"/><Relationship Id="rId5" Type="http://schemas.openxmlformats.org/officeDocument/2006/relationships/image" Target="../media/image36.emf"/><Relationship Id="rId4" Type="http://schemas.openxmlformats.org/officeDocument/2006/relationships/oleObject" Target="../embeddings/oleObject46.bin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4.svg"/><Relationship Id="rId2" Type="http://schemas.openxmlformats.org/officeDocument/2006/relationships/tags" Target="../tags/tag56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44.png"/><Relationship Id="rId5" Type="http://schemas.openxmlformats.org/officeDocument/2006/relationships/image" Target="../media/image30.emf"/><Relationship Id="rId4" Type="http://schemas.openxmlformats.org/officeDocument/2006/relationships/oleObject" Target="../embeddings/oleObject47.bin"/></Relationships>
</file>

<file path=ppt/slideLayouts/_rels/slideLayout1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38.png"/><Relationship Id="rId2" Type="http://schemas.openxmlformats.org/officeDocument/2006/relationships/tags" Target="../tags/tag57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45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8.bin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9.svg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4.svg"/><Relationship Id="rId2" Type="http://schemas.openxmlformats.org/officeDocument/2006/relationships/tags" Target="../tags/tag58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3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9.bin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48.png"/><Relationship Id="rId2" Type="http://schemas.openxmlformats.org/officeDocument/2006/relationships/tags" Target="../tags/tag59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46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50.bin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4.svg"/><Relationship Id="rId2" Type="http://schemas.openxmlformats.org/officeDocument/2006/relationships/tags" Target="../tags/tag61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3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52.bin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4.svg"/><Relationship Id="rId2" Type="http://schemas.openxmlformats.org/officeDocument/2006/relationships/tags" Target="../tags/tag62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3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53.bin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5.xml"/></Relationships>
</file>

<file path=ppt/slideLayouts/_rels/slideLayout16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6.svg"/><Relationship Id="rId2" Type="http://schemas.openxmlformats.org/officeDocument/2006/relationships/tags" Target="../tags/tag63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39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54.bin"/><Relationship Id="rId9" Type="http://schemas.openxmlformats.org/officeDocument/2006/relationships/image" Target="../media/image4.svg"/></Relationships>
</file>

<file path=ppt/slideLayouts/_rels/slideLayout16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38.png"/><Relationship Id="rId2" Type="http://schemas.openxmlformats.org/officeDocument/2006/relationships/tags" Target="../tags/tag64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41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55.bin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4.svg"/><Relationship Id="rId2" Type="http://schemas.openxmlformats.org/officeDocument/2006/relationships/tags" Target="../tags/tag65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42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56.bin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9.svg"/><Relationship Id="rId2" Type="http://schemas.openxmlformats.org/officeDocument/2006/relationships/tags" Target="../tags/tag66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43.png"/><Relationship Id="rId5" Type="http://schemas.openxmlformats.org/officeDocument/2006/relationships/image" Target="../media/image36.emf"/><Relationship Id="rId4" Type="http://schemas.openxmlformats.org/officeDocument/2006/relationships/oleObject" Target="../embeddings/oleObject57.bin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4.svg"/><Relationship Id="rId2" Type="http://schemas.openxmlformats.org/officeDocument/2006/relationships/tags" Target="../tags/tag67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44.png"/><Relationship Id="rId5" Type="http://schemas.openxmlformats.org/officeDocument/2006/relationships/image" Target="../media/image30.emf"/><Relationship Id="rId4" Type="http://schemas.openxmlformats.org/officeDocument/2006/relationships/oleObject" Target="../embeddings/oleObject58.bin"/></Relationships>
</file>

<file path=ppt/slideLayouts/_rels/slideLayout16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38.png"/><Relationship Id="rId2" Type="http://schemas.openxmlformats.org/officeDocument/2006/relationships/tags" Target="../tags/tag68.xml"/><Relationship Id="rId1" Type="http://schemas.openxmlformats.org/officeDocument/2006/relationships/vmlDrawing" Target="../drawings/vmlDrawing59.vml"/><Relationship Id="rId6" Type="http://schemas.openxmlformats.org/officeDocument/2006/relationships/image" Target="../media/image45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59.bin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9.svg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4.svg"/><Relationship Id="rId2" Type="http://schemas.openxmlformats.org/officeDocument/2006/relationships/tags" Target="../tags/tag69.xml"/><Relationship Id="rId1" Type="http://schemas.openxmlformats.org/officeDocument/2006/relationships/vmlDrawing" Target="../drawings/vmlDrawing60.vml"/><Relationship Id="rId6" Type="http://schemas.openxmlformats.org/officeDocument/2006/relationships/image" Target="../media/image3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60.bin"/></Relationships>
</file>

<file path=ppt/slideLayouts/_rels/slideLayout17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48.png"/><Relationship Id="rId2" Type="http://schemas.openxmlformats.org/officeDocument/2006/relationships/tags" Target="../tags/tag70.xml"/><Relationship Id="rId1" Type="http://schemas.openxmlformats.org/officeDocument/2006/relationships/vmlDrawing" Target="../drawings/vmlDrawing61.vml"/><Relationship Id="rId6" Type="http://schemas.openxmlformats.org/officeDocument/2006/relationships/image" Target="../media/image46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61.bin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3.em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7.xml"/><Relationship Id="rId7" Type="http://schemas.openxmlformats.org/officeDocument/2006/relationships/image" Target="../media/image6.emf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7.jpg"/><Relationship Id="rId4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9.xml"/><Relationship Id="rId7" Type="http://schemas.openxmlformats.org/officeDocument/2006/relationships/image" Target="../media/image6.emf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8.png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9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3.emf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7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emf"/><Relationship Id="rId5" Type="http://schemas.openxmlformats.org/officeDocument/2006/relationships/image" Target="../media/image10.emf"/><Relationship Id="rId4" Type="http://schemas.openxmlformats.org/officeDocument/2006/relationships/oleObject" Target="../embeddings/oleObject8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.emf"/><Relationship Id="rId5" Type="http://schemas.openxmlformats.org/officeDocument/2006/relationships/image" Target="../media/image11.emf"/><Relationship Id="rId4" Type="http://schemas.openxmlformats.org/officeDocument/2006/relationships/oleObject" Target="../embeddings/oleObject9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.emf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.emf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1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emf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2.bin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emf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3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emf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4.bin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7.svg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8.emf"/><Relationship Id="rId5" Type="http://schemas.openxmlformats.org/officeDocument/2006/relationships/image" Target="../media/image17.emf"/><Relationship Id="rId4" Type="http://schemas.openxmlformats.org/officeDocument/2006/relationships/image" Target="../media/image17.svg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7.sv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7.sv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7.sv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3.emf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5.bin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3.emf"/><Relationship Id="rId5" Type="http://schemas.openxmlformats.org/officeDocument/2006/relationships/image" Target="../media/image21.emf"/><Relationship Id="rId4" Type="http://schemas.openxmlformats.org/officeDocument/2006/relationships/oleObject" Target="../embeddings/oleObject16.bin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3.emf"/><Relationship Id="rId5" Type="http://schemas.openxmlformats.org/officeDocument/2006/relationships/image" Target="../media/image22.emf"/><Relationship Id="rId4" Type="http://schemas.openxmlformats.org/officeDocument/2006/relationships/oleObject" Target="../embeddings/oleObject17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3.emf"/><Relationship Id="rId5" Type="http://schemas.openxmlformats.org/officeDocument/2006/relationships/image" Target="../media/image23.emf"/><Relationship Id="rId4" Type="http://schemas.openxmlformats.org/officeDocument/2006/relationships/oleObject" Target="../embeddings/oleObject18.bin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25.emf"/><Relationship Id="rId4" Type="http://schemas.openxmlformats.org/officeDocument/2006/relationships/oleObject" Target="../embeddings/oleObject19.bin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emf"/></Relationships>
</file>

<file path=ppt/slideLayouts/_rels/slideLayout6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emf"/></Relationships>
</file>

<file path=ppt/slideLayouts/_rels/slideLayout6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emf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7.jpg"/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7.jpg"/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7.jpg"/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8.jpg"/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9.jpg"/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31.png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0.bin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image" Target="../media/image3.emf"/><Relationship Id="rId2" Type="http://schemas.openxmlformats.org/officeDocument/2006/relationships/tags" Target="../tags/tag26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29.xml"/><Relationship Id="rId7" Type="http://schemas.openxmlformats.org/officeDocument/2006/relationships/image" Target="../media/image6.emf"/><Relationship Id="rId2" Type="http://schemas.openxmlformats.org/officeDocument/2006/relationships/tags" Target="../tags/tag28.xml"/><Relationship Id="rId1" Type="http://schemas.openxmlformats.org/officeDocument/2006/relationships/vmlDrawing" Target="../drawings/vmlDrawing22.vml"/><Relationship Id="rId6" Type="http://schemas.openxmlformats.org/officeDocument/2006/relationships/oleObject" Target="../embeddings/oleObject22.bin"/><Relationship Id="rId5" Type="http://schemas.openxmlformats.org/officeDocument/2006/relationships/image" Target="../media/image7.jpg"/><Relationship Id="rId4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31.xml"/><Relationship Id="rId7" Type="http://schemas.openxmlformats.org/officeDocument/2006/relationships/image" Target="../media/image6.emf"/><Relationship Id="rId2" Type="http://schemas.openxmlformats.org/officeDocument/2006/relationships/tags" Target="../tags/tag30.xml"/><Relationship Id="rId1" Type="http://schemas.openxmlformats.org/officeDocument/2006/relationships/vmlDrawing" Target="../drawings/vmlDrawing23.vml"/><Relationship Id="rId6" Type="http://schemas.openxmlformats.org/officeDocument/2006/relationships/oleObject" Target="../embeddings/oleObject23.bin"/><Relationship Id="rId5" Type="http://schemas.openxmlformats.org/officeDocument/2006/relationships/image" Target="../media/image8.png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9.emf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7" Type="http://schemas.openxmlformats.org/officeDocument/2006/relationships/image" Target="../media/image3.emf"/><Relationship Id="rId2" Type="http://schemas.openxmlformats.org/officeDocument/2006/relationships/tags" Target="../tags/tag32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4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3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25.bin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5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3.emf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6.bin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6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3.emf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7.bin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7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3.emf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8.bin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8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3.emf"/><Relationship Id="rId5" Type="http://schemas.openxmlformats.org/officeDocument/2006/relationships/image" Target="../media/image13.emf"/><Relationship Id="rId4" Type="http://schemas.openxmlformats.org/officeDocument/2006/relationships/oleObject" Target="../embeddings/oleObject29.bin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3.emf"/><Relationship Id="rId5" Type="http://schemas.openxmlformats.org/officeDocument/2006/relationships/image" Target="../media/image14.emf"/><Relationship Id="rId4" Type="http://schemas.openxmlformats.org/officeDocument/2006/relationships/oleObject" Target="../embeddings/oleObject30.bin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3.emf"/><Relationship Id="rId5" Type="http://schemas.openxmlformats.org/officeDocument/2006/relationships/image" Target="../media/image15.emf"/><Relationship Id="rId4" Type="http://schemas.openxmlformats.org/officeDocument/2006/relationships/oleObject" Target="../embeddings/oleObject31.bin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1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3.emf"/><Relationship Id="rId5" Type="http://schemas.openxmlformats.org/officeDocument/2006/relationships/image" Target="../media/image15.emf"/><Relationship Id="rId4" Type="http://schemas.openxmlformats.org/officeDocument/2006/relationships/oleObject" Target="../embeddings/oleObject32.bin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7.svg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8.emf"/><Relationship Id="rId5" Type="http://schemas.openxmlformats.org/officeDocument/2006/relationships/image" Target="../media/image17.emf"/><Relationship Id="rId4" Type="http://schemas.openxmlformats.org/officeDocument/2006/relationships/image" Target="../media/image17.svg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7.svg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7.svg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7.svg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3069110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70A6E24E-9F3D-5945-98B9-F4261D7E6C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959" y="1709746"/>
            <a:ext cx="10516969" cy="2852737"/>
          </a:xfrm>
        </p:spPr>
        <p:txBody>
          <a:bodyPr anchor="b"/>
          <a:lstStyle>
            <a:lvl1pPr>
              <a:defRPr sz="5992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xmlns="" id="{3285529A-2FAE-FA45-819C-1CEC68F4E76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959" y="4589471"/>
            <a:ext cx="10516969" cy="1500187"/>
          </a:xfrm>
        </p:spPr>
        <p:txBody>
          <a:bodyPr/>
          <a:lstStyle>
            <a:lvl1pPr marL="0" indent="0">
              <a:buNone/>
              <a:defRPr sz="2396">
                <a:solidFill>
                  <a:schemeClr val="tx1">
                    <a:tint val="75000"/>
                  </a:schemeClr>
                </a:solidFill>
              </a:defRPr>
            </a:lvl1pPr>
            <a:lvl2pPr marL="456682" indent="0">
              <a:buNone/>
              <a:defRPr sz="1996">
                <a:solidFill>
                  <a:schemeClr val="tx1">
                    <a:tint val="75000"/>
                  </a:schemeClr>
                </a:solidFill>
              </a:defRPr>
            </a:lvl2pPr>
            <a:lvl3pPr marL="913363" indent="0">
              <a:buNone/>
              <a:defRPr sz="1797">
                <a:solidFill>
                  <a:schemeClr val="tx1">
                    <a:tint val="75000"/>
                  </a:schemeClr>
                </a:solidFill>
              </a:defRPr>
            </a:lvl3pPr>
            <a:lvl4pPr marL="137004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672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340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008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676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345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B43511E9-EDCD-A34B-9FE9-DAAA96C300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DB3C94-6D56-164E-BA24-E6E2F14D2128}" type="datetimeFigureOut">
              <a:rPr lang="es-CL" smtClean="0"/>
              <a:t>04-02-2025</a:t>
            </a:fld>
            <a:endParaRPr lang="es-CL" dirty="0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9ABAC7FA-7702-2F4A-A839-40CE192670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507B5360-3C90-B74A-9EFC-E5B5B3F977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83AE60-A720-A443-B80B-BB7E1A5C8997}" type="slidenum">
              <a:rPr lang="es-CL" smtClean="0"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168105119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Solo texto y bullets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3" name="Marcador de texto 2">
            <a:extLst>
              <a:ext uri="{FF2B5EF4-FFF2-40B4-BE49-F238E27FC236}">
                <a16:creationId xmlns:a16="http://schemas.microsoft.com/office/drawing/2014/main" xmlns="" id="{79371C62-644E-E74F-8E59-C3049417716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62049" y="2204864"/>
            <a:ext cx="5474279" cy="4145136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defRPr sz="1697">
                <a:solidFill>
                  <a:schemeClr val="bg1"/>
                </a:solidFill>
              </a:defRPr>
            </a:lvl1pPr>
            <a:lvl2pPr marL="675507" indent="-371055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Wingdings" pitchFamily="2" charset="2"/>
              <a:buChar char="§"/>
              <a:tabLst/>
              <a:defRPr lang="es-ES" sz="1600" b="0" i="0" u="none" strike="noStrike" cap="none" spc="0" baseline="0" dirty="0" smtClean="0">
                <a:solidFill>
                  <a:schemeClr val="bg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29120" indent="-332997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chemeClr val="bg1"/>
                </a:solidFill>
              </a:defRPr>
            </a:lvl3pPr>
            <a:lvl4pPr marL="1340709" indent="-332204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chemeClr val="bg1"/>
                </a:solidFill>
              </a:defRPr>
            </a:lvl4pPr>
            <a:lvl5pPr marL="1673706" indent="-363919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>
                <a:tab pos="1569843" algn="l"/>
              </a:tabLst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Párrafo texto Arial 17</a:t>
            </a:r>
          </a:p>
          <a:p>
            <a:pPr lvl="1"/>
            <a:r>
              <a:rPr lang="es-ES" dirty="0"/>
              <a:t>Segundo nivel Arial 16</a:t>
            </a:r>
          </a:p>
          <a:p>
            <a:pPr lvl="2"/>
            <a:r>
              <a:rPr lang="es-ES" dirty="0"/>
              <a:t>Tercer nivel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10" name="Marcador de texto 2">
            <a:extLst>
              <a:ext uri="{FF2B5EF4-FFF2-40B4-BE49-F238E27FC236}">
                <a16:creationId xmlns:a16="http://schemas.microsoft.com/office/drawing/2014/main" xmlns="" id="{46352864-5CDA-6748-9BE7-AB525715B10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7265" y="2204864"/>
            <a:ext cx="5474279" cy="4145136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defRPr sz="1697">
                <a:solidFill>
                  <a:schemeClr val="bg1"/>
                </a:solidFill>
              </a:defRPr>
            </a:lvl1pPr>
            <a:lvl2pPr marL="675507" indent="-371055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Wingdings" pitchFamily="2" charset="2"/>
              <a:buChar char="§"/>
              <a:tabLst/>
              <a:defRPr lang="es-ES" sz="1600" b="0" i="0" u="none" strike="noStrike" cap="none" spc="0" baseline="0" dirty="0" smtClean="0">
                <a:solidFill>
                  <a:schemeClr val="bg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29120" indent="-332997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chemeClr val="bg1"/>
                </a:solidFill>
              </a:defRPr>
            </a:lvl3pPr>
            <a:lvl4pPr marL="1340709" indent="-332204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chemeClr val="bg1"/>
                </a:solidFill>
              </a:defRPr>
            </a:lvl4pPr>
            <a:lvl5pPr marL="1673706" indent="-363919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>
                <a:tab pos="1569843" algn="l"/>
              </a:tabLst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Párrafo texto Arial 17</a:t>
            </a:r>
          </a:p>
          <a:p>
            <a:pPr lvl="1"/>
            <a:r>
              <a:rPr lang="es-ES" dirty="0"/>
              <a:t>Segundo nivel Arial 16</a:t>
            </a:r>
          </a:p>
          <a:p>
            <a:pPr lvl="2"/>
            <a:r>
              <a:rPr lang="es-ES" dirty="0"/>
              <a:t>Tercer nivel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11" name="Marcador de texto 7">
            <a:extLst>
              <a:ext uri="{FF2B5EF4-FFF2-40B4-BE49-F238E27FC236}">
                <a16:creationId xmlns:a16="http://schemas.microsoft.com/office/drawing/2014/main" xmlns="" id="{77E70C03-1C9A-9648-B425-8A31D2E87E4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59714" y="1608138"/>
            <a:ext cx="5460593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accent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xmlns="" id="{21A27CE4-2D15-A94A-A97D-35B2F8DDC91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62049" y="1608138"/>
            <a:ext cx="5460593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accent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421C23CA-A9EE-274A-A27A-3F1E699A6425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 flipH="1">
            <a:off x="427719" y="6587193"/>
            <a:ext cx="5492592" cy="174851"/>
          </a:xfrm>
          <a:noFill/>
          <a:effectLst/>
        </p:spPr>
        <p:txBody>
          <a:bodyPr wrap="square" lIns="0" tIns="0" rIns="0" bIns="36000">
            <a:spAutoFit/>
          </a:bodyPr>
          <a:lstStyle>
            <a:lvl1pPr marL="136370" indent="0">
              <a:tabLst/>
              <a:defRPr>
                <a:solidFill>
                  <a:schemeClr val="accent2"/>
                </a:solidFill>
              </a:defRPr>
            </a:lvl1pPr>
          </a:lstStyle>
          <a:p>
            <a:r>
              <a:rPr lang="es-ES_tradnl" dirty="0">
                <a:solidFill>
                  <a:srgbClr val="F2E500"/>
                </a:solidFill>
              </a:rPr>
              <a:t>Fuente o Pie de página Arial 9</a:t>
            </a:r>
          </a:p>
        </p:txBody>
      </p:sp>
      <p:sp>
        <p:nvSpPr>
          <p:cNvPr id="13" name="Marcador de texto 7">
            <a:extLst>
              <a:ext uri="{FF2B5EF4-FFF2-40B4-BE49-F238E27FC236}">
                <a16:creationId xmlns:a16="http://schemas.microsoft.com/office/drawing/2014/main" xmlns="" id="{DD32D3F5-60C4-4548-B9FD-5B2B534B5D5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7" name="Conector recto 16">
            <a:extLst>
              <a:ext uri="{FF2B5EF4-FFF2-40B4-BE49-F238E27FC236}">
                <a16:creationId xmlns:a16="http://schemas.microsoft.com/office/drawing/2014/main" xmlns="" id="{FC4CE323-2991-0741-84BF-4FC66AF6EEA5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8" name="Marcador de texto 7">
            <a:extLst>
              <a:ext uri="{FF2B5EF4-FFF2-40B4-BE49-F238E27FC236}">
                <a16:creationId xmlns:a16="http://schemas.microsoft.com/office/drawing/2014/main" xmlns="" id="{A8F90AAC-3411-5E49-A60E-F9BE61D397F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accent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  <p:sp>
        <p:nvSpPr>
          <p:cNvPr id="14" name="Marcador de número de diapositiva 1">
            <a:extLst>
              <a:ext uri="{FF2B5EF4-FFF2-40B4-BE49-F238E27FC236}">
                <a16:creationId xmlns:a16="http://schemas.microsoft.com/office/drawing/2014/main" xmlns="" id="{1F8842AD-E05A-0F45-8A8A-37431DBD738A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FFFFFF"/>
                </a:solidFill>
              </a:rPr>
              <a:pPr/>
              <a:t>‹Nº›</a:t>
            </a:fld>
            <a:endParaRPr lang="es-CL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897405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212" userDrawn="1">
          <p15:clr>
            <a:srgbClr val="FBAE40"/>
          </p15:clr>
        </p15:guide>
        <p15:guide id="2" pos="2926" userDrawn="1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ulo, sub titulo y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7" name="Marcador de número de diapositiva 1">
            <a:extLst>
              <a:ext uri="{FF2B5EF4-FFF2-40B4-BE49-F238E27FC236}">
                <a16:creationId xmlns:a16="http://schemas.microsoft.com/office/drawing/2014/main" xmlns="" id="{A5BC562B-8075-3C4C-A449-F53BCE5866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8A8A8A"/>
                </a:solidFill>
              </a:rPr>
              <a:pPr/>
              <a:t>‹Nº›</a:t>
            </a:fld>
            <a:endParaRPr lang="es-CL" dirty="0">
              <a:solidFill>
                <a:srgbClr val="8A8A8A"/>
              </a:solidFill>
            </a:endParaRPr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xmlns="" id="{5333086C-D4D2-BC41-8D23-66AB3DB0C5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0" name="Conector recto 9">
            <a:extLst>
              <a:ext uri="{FF2B5EF4-FFF2-40B4-BE49-F238E27FC236}">
                <a16:creationId xmlns:a16="http://schemas.microsoft.com/office/drawing/2014/main" xmlns="" id="{1CEF97AF-E50E-F247-98FC-7FB6FC2DFFE2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1" name="Marcador de texto 7">
            <a:extLst>
              <a:ext uri="{FF2B5EF4-FFF2-40B4-BE49-F238E27FC236}">
                <a16:creationId xmlns:a16="http://schemas.microsoft.com/office/drawing/2014/main" xmlns="" id="{0F4EE69C-994D-B54F-88AE-FEC32892E1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94041637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46" userDrawn="1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ulo, sub titulo y logo fondo ver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7" name="Marcador de número de diapositiva 1">
            <a:extLst>
              <a:ext uri="{FF2B5EF4-FFF2-40B4-BE49-F238E27FC236}">
                <a16:creationId xmlns:a16="http://schemas.microsoft.com/office/drawing/2014/main" xmlns="" id="{025838F8-F232-B04E-AF29-81617EA89C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FFFFFF"/>
                </a:solidFill>
              </a:rPr>
              <a:pPr/>
              <a:t>‹Nº›</a:t>
            </a:fld>
            <a:endParaRPr lang="es-CL" dirty="0">
              <a:solidFill>
                <a:srgbClr val="FFFFFF"/>
              </a:solidFill>
            </a:endParaRPr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xmlns="" id="{904E778F-A13F-5640-8DFB-735443F011C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0" name="Conector recto 9">
            <a:extLst>
              <a:ext uri="{FF2B5EF4-FFF2-40B4-BE49-F238E27FC236}">
                <a16:creationId xmlns:a16="http://schemas.microsoft.com/office/drawing/2014/main" xmlns="" id="{2159500B-EE7D-4543-ACA3-AE25BD6887CE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1" name="Marcador de texto 7">
            <a:extLst>
              <a:ext uri="{FF2B5EF4-FFF2-40B4-BE49-F238E27FC236}">
                <a16:creationId xmlns:a16="http://schemas.microsoft.com/office/drawing/2014/main" xmlns="" id="{DBEC4E9D-A2F1-4644-8BDF-6223E8BD35C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accent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51360369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46" userDrawn="1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ulo, sub titulo y logo fondo ver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7" name="Marcador de número de diapositiva 1">
            <a:extLst>
              <a:ext uri="{FF2B5EF4-FFF2-40B4-BE49-F238E27FC236}">
                <a16:creationId xmlns:a16="http://schemas.microsoft.com/office/drawing/2014/main" xmlns="" id="{025838F8-F232-B04E-AF29-81617EA89C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FFFFFF"/>
                </a:solidFill>
              </a:rPr>
              <a:pPr/>
              <a:t>‹Nº›</a:t>
            </a:fld>
            <a:endParaRPr lang="es-CL" dirty="0">
              <a:solidFill>
                <a:srgbClr val="FFFFFF"/>
              </a:solidFill>
            </a:endParaRPr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xmlns="" id="{904E778F-A13F-5640-8DFB-735443F011C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0" name="Conector recto 9">
            <a:extLst>
              <a:ext uri="{FF2B5EF4-FFF2-40B4-BE49-F238E27FC236}">
                <a16:creationId xmlns:a16="http://schemas.microsoft.com/office/drawing/2014/main" xmlns="" id="{2159500B-EE7D-4543-ACA3-AE25BD6887CE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1" name="Marcador de texto 7">
            <a:extLst>
              <a:ext uri="{FF2B5EF4-FFF2-40B4-BE49-F238E27FC236}">
                <a16:creationId xmlns:a16="http://schemas.microsoft.com/office/drawing/2014/main" xmlns="" id="{DBEC4E9D-A2F1-4644-8BDF-6223E8BD35C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accent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xmlns="" id="{B3541E17-32DC-304A-AF37-ADA7A69CC78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6624" y="1175882"/>
            <a:ext cx="9526095" cy="56821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360943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46" userDrawn="1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ámina comparativ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xmlns="" id="{F257A930-1B12-7B4A-B402-734BCB48BA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3" y="1596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503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3" y="1596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ángulo 6">
            <a:extLst>
              <a:ext uri="{FF2B5EF4-FFF2-40B4-BE49-F238E27FC236}">
                <a16:creationId xmlns:a16="http://schemas.microsoft.com/office/drawing/2014/main" xmlns="" id="{43C07928-B23C-C049-8D57-638AEAE25D0A}"/>
              </a:ext>
            </a:extLst>
          </p:cNvPr>
          <p:cNvSpPr/>
          <p:nvPr userDrawn="1"/>
        </p:nvSpPr>
        <p:spPr>
          <a:xfrm>
            <a:off x="9216452" y="3740420"/>
            <a:ext cx="2520328" cy="59428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747" tIns="50747" rIns="50747" bIns="50747" numCol="1" spcCol="38100" rtlCol="0" anchor="ctr">
            <a:spAutoFit/>
          </a:bodyPr>
          <a:lstStyle/>
          <a:p>
            <a:pPr algn="ctr" defTabSz="824562" hangingPunct="0"/>
            <a:endParaRPr lang="es-CL" sz="3196" dirty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20" name="Conector recto 74">
            <a:extLst>
              <a:ext uri="{FF2B5EF4-FFF2-40B4-BE49-F238E27FC236}">
                <a16:creationId xmlns:a16="http://schemas.microsoft.com/office/drawing/2014/main" xmlns="" id="{D53F8420-F737-A142-8C02-3370D732A139}"/>
              </a:ext>
            </a:extLst>
          </p:cNvPr>
          <p:cNvSpPr/>
          <p:nvPr userDrawn="1"/>
        </p:nvSpPr>
        <p:spPr>
          <a:xfrm flipH="1">
            <a:off x="2902381" y="2346859"/>
            <a:ext cx="1" cy="3400704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2836" rIns="22836"/>
          <a:lstStyle/>
          <a:p>
            <a:pPr defTabSz="1217024">
              <a:defRPr>
                <a:latin typeface="Arial"/>
                <a:ea typeface="Arial"/>
                <a:cs typeface="Arial"/>
                <a:sym typeface="Arial"/>
              </a:defRPr>
            </a:pPr>
            <a:endParaRPr sz="1200" dirty="0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1" name="Conector recto 74">
            <a:extLst>
              <a:ext uri="{FF2B5EF4-FFF2-40B4-BE49-F238E27FC236}">
                <a16:creationId xmlns:a16="http://schemas.microsoft.com/office/drawing/2014/main" xmlns="" id="{D6D37DC4-4EA6-9544-8D43-FDA98A0A4224}"/>
              </a:ext>
            </a:extLst>
          </p:cNvPr>
          <p:cNvSpPr/>
          <p:nvPr userDrawn="1"/>
        </p:nvSpPr>
        <p:spPr>
          <a:xfrm flipH="1">
            <a:off x="5633095" y="2346859"/>
            <a:ext cx="1" cy="3400704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2836" rIns="22836"/>
          <a:lstStyle/>
          <a:p>
            <a:pPr defTabSz="1217024">
              <a:defRPr>
                <a:latin typeface="Arial"/>
                <a:ea typeface="Arial"/>
                <a:cs typeface="Arial"/>
                <a:sym typeface="Arial"/>
              </a:defRPr>
            </a:pPr>
            <a:endParaRPr sz="1200" dirty="0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34" name="Marcador de texto 7">
            <a:extLst>
              <a:ext uri="{FF2B5EF4-FFF2-40B4-BE49-F238E27FC236}">
                <a16:creationId xmlns:a16="http://schemas.microsoft.com/office/drawing/2014/main" xmlns="" id="{7B419ADE-2D25-974C-863D-0EC0DFC0A5C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1284" y="3117333"/>
            <a:ext cx="1993255" cy="46800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</a:t>
            </a:r>
          </a:p>
          <a:p>
            <a:pPr lvl="0"/>
            <a:r>
              <a:rPr lang="es-ES" dirty="0"/>
              <a:t>Bold 16</a:t>
            </a:r>
            <a:endParaRPr lang="es-CL" dirty="0"/>
          </a:p>
        </p:txBody>
      </p:sp>
      <p:sp>
        <p:nvSpPr>
          <p:cNvPr id="36" name="Marcador de texto 7">
            <a:extLst>
              <a:ext uri="{FF2B5EF4-FFF2-40B4-BE49-F238E27FC236}">
                <a16:creationId xmlns:a16="http://schemas.microsoft.com/office/drawing/2014/main" xmlns="" id="{F98F0A76-E459-7040-92DF-0796E35D78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1284" y="3665997"/>
            <a:ext cx="1993255" cy="208156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40" name="Marcador de texto 7">
            <a:extLst>
              <a:ext uri="{FF2B5EF4-FFF2-40B4-BE49-F238E27FC236}">
                <a16:creationId xmlns:a16="http://schemas.microsoft.com/office/drawing/2014/main" xmlns="" id="{AA696213-3CE3-8141-BE88-BE027163D6E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83724" y="3117333"/>
            <a:ext cx="1993255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s-CL" sz="1600" b="1" dirty="0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s-ES" dirty="0"/>
              <a:t>Título Arial </a:t>
            </a:r>
          </a:p>
          <a:p>
            <a:pPr marL="0" lvl="0" indent="0">
              <a:spcBef>
                <a:spcPts val="0"/>
              </a:spcBef>
              <a:buNone/>
            </a:pPr>
            <a:r>
              <a:rPr lang="es-ES" dirty="0"/>
              <a:t>Bold 16</a:t>
            </a:r>
            <a:endParaRPr lang="es-CL" dirty="0"/>
          </a:p>
        </p:txBody>
      </p:sp>
      <p:sp>
        <p:nvSpPr>
          <p:cNvPr id="41" name="Marcador de texto 7">
            <a:extLst>
              <a:ext uri="{FF2B5EF4-FFF2-40B4-BE49-F238E27FC236}">
                <a16:creationId xmlns:a16="http://schemas.microsoft.com/office/drawing/2014/main" xmlns="" id="{0DFE9962-D69F-9F46-8D1F-D4F2B672D85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83724" y="3654541"/>
            <a:ext cx="1993255" cy="20930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45" name="Marcador de texto 7">
            <a:extLst>
              <a:ext uri="{FF2B5EF4-FFF2-40B4-BE49-F238E27FC236}">
                <a16:creationId xmlns:a16="http://schemas.microsoft.com/office/drawing/2014/main" xmlns="" id="{C95A676F-0AE0-C944-BE25-BD527CB9FE8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938405" y="3117333"/>
            <a:ext cx="1993255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s-CL" sz="1600" b="1" dirty="0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s-ES" dirty="0"/>
              <a:t>Título Arial </a:t>
            </a:r>
          </a:p>
          <a:p>
            <a:pPr marL="0" lvl="0" indent="0">
              <a:spcBef>
                <a:spcPts val="0"/>
              </a:spcBef>
              <a:buNone/>
            </a:pPr>
            <a:r>
              <a:rPr lang="es-ES" dirty="0"/>
              <a:t>Bold 16</a:t>
            </a:r>
            <a:endParaRPr lang="es-CL" dirty="0"/>
          </a:p>
        </p:txBody>
      </p:sp>
      <p:sp>
        <p:nvSpPr>
          <p:cNvPr id="46" name="Marcador de texto 7">
            <a:extLst>
              <a:ext uri="{FF2B5EF4-FFF2-40B4-BE49-F238E27FC236}">
                <a16:creationId xmlns:a16="http://schemas.microsoft.com/office/drawing/2014/main" xmlns="" id="{40F028AC-5B4A-9844-94D7-770F95E501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938405" y="3665997"/>
            <a:ext cx="1993255" cy="208156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50" name="Marcador de texto 7">
            <a:extLst>
              <a:ext uri="{FF2B5EF4-FFF2-40B4-BE49-F238E27FC236}">
                <a16:creationId xmlns:a16="http://schemas.microsoft.com/office/drawing/2014/main" xmlns="" id="{CBFD6792-9E13-7E48-9CEA-7FCD45D83A3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284631" y="2493112"/>
            <a:ext cx="2385540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51" name="Marcador de texto 7">
            <a:extLst>
              <a:ext uri="{FF2B5EF4-FFF2-40B4-BE49-F238E27FC236}">
                <a16:creationId xmlns:a16="http://schemas.microsoft.com/office/drawing/2014/main" xmlns="" id="{108DB484-1780-D345-A1D5-E256BC38977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284631" y="3020651"/>
            <a:ext cx="2385540" cy="2619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4" name="Marcador de posición de imagen 3">
            <a:extLst>
              <a:ext uri="{FF2B5EF4-FFF2-40B4-BE49-F238E27FC236}">
                <a16:creationId xmlns:a16="http://schemas.microsoft.com/office/drawing/2014/main" xmlns="" id="{DC8111CA-F1A2-044A-A61E-5D535C8840BE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3183720" y="2310725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30" name="Marcador de posición de imagen 3">
            <a:extLst>
              <a:ext uri="{FF2B5EF4-FFF2-40B4-BE49-F238E27FC236}">
                <a16:creationId xmlns:a16="http://schemas.microsoft.com/office/drawing/2014/main" xmlns="" id="{6F2BA060-6F09-A74D-BBF5-6F8F93A5EEF2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5938405" y="2310725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31" name="Marcador de posición de imagen 3">
            <a:extLst>
              <a:ext uri="{FF2B5EF4-FFF2-40B4-BE49-F238E27FC236}">
                <a16:creationId xmlns:a16="http://schemas.microsoft.com/office/drawing/2014/main" xmlns="" id="{F49B1752-2690-5047-BF37-65DC322FED38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454230" y="2310725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35" name="Marcador de texto 4">
            <a:extLst>
              <a:ext uri="{FF2B5EF4-FFF2-40B4-BE49-F238E27FC236}">
                <a16:creationId xmlns:a16="http://schemas.microsoft.com/office/drawing/2014/main" xmlns="" id="{535EAA60-8045-0240-8A28-73BA9C14F5A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457264" y="6474518"/>
            <a:ext cx="8377595" cy="384019"/>
          </a:xfrm>
          <a:prstGeom prst="rect">
            <a:avLst/>
          </a:prstGeom>
        </p:spPr>
        <p:txBody>
          <a:bodyPr/>
          <a:lstStyle>
            <a:lvl1pPr marL="228339" indent="-228339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900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Texto primera fuente Arial 9</a:t>
            </a:r>
          </a:p>
          <a:p>
            <a:pPr lvl="0"/>
            <a:r>
              <a:rPr lang="es-CL" dirty="0"/>
              <a:t>Texto sfuente Arial 9</a:t>
            </a:r>
          </a:p>
        </p:txBody>
      </p:sp>
      <p:sp>
        <p:nvSpPr>
          <p:cNvPr id="26" name="Línea">
            <a:extLst>
              <a:ext uri="{FF2B5EF4-FFF2-40B4-BE49-F238E27FC236}">
                <a16:creationId xmlns:a16="http://schemas.microsoft.com/office/drawing/2014/main" xmlns="" id="{2444CEDB-830B-134F-A2D4-D6873E299AB1}"/>
              </a:ext>
            </a:extLst>
          </p:cNvPr>
          <p:cNvSpPr/>
          <p:nvPr userDrawn="1"/>
        </p:nvSpPr>
        <p:spPr>
          <a:xfrm>
            <a:off x="8512614" y="2318311"/>
            <a:ext cx="280117" cy="342925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11" y="0"/>
                </a:moveTo>
                <a:lnTo>
                  <a:pt x="21600" y="10870"/>
                </a:lnTo>
                <a:lnTo>
                  <a:pt x="0" y="21600"/>
                </a:lnTo>
              </a:path>
            </a:pathLst>
          </a:custGeom>
          <a:ln w="114300">
            <a:solidFill>
              <a:schemeClr val="accent3">
                <a:lumMod val="40000"/>
                <a:lumOff val="60000"/>
              </a:schemeClr>
            </a:solidFill>
            <a:prstDash val="solid"/>
            <a:miter lim="400000"/>
          </a:ln>
        </p:spPr>
        <p:txBody>
          <a:bodyPr lIns="25372" tIns="25372" rIns="25372" bIns="25372" anchor="ctr"/>
          <a:lstStyle/>
          <a:p>
            <a:pPr defTabSz="1217024">
              <a:defRPr>
                <a:latin typeface="Arial"/>
                <a:ea typeface="Arial"/>
                <a:cs typeface="Arial"/>
                <a:sym typeface="Arial"/>
              </a:defRPr>
            </a:pPr>
            <a:endParaRPr sz="1200" dirty="0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7" name="Marcador de número de diapositiva 1">
            <a:extLst>
              <a:ext uri="{FF2B5EF4-FFF2-40B4-BE49-F238E27FC236}">
                <a16:creationId xmlns:a16="http://schemas.microsoft.com/office/drawing/2014/main" xmlns="" id="{34BED3D6-BA71-8C4F-B456-2184D1F7C755}"/>
              </a:ext>
            </a:extLst>
          </p:cNvPr>
          <p:cNvSpPr>
            <a:spLocks noGrp="1"/>
          </p:cNvSpPr>
          <p:nvPr>
            <p:ph type="sldNum" sz="quarter" idx="52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8A8A8A"/>
                </a:solidFill>
              </a:rPr>
              <a:pPr/>
              <a:t>‹Nº›</a:t>
            </a:fld>
            <a:endParaRPr lang="es-CL" dirty="0">
              <a:solidFill>
                <a:srgbClr val="8A8A8A"/>
              </a:solidFill>
            </a:endParaRPr>
          </a:p>
        </p:txBody>
      </p:sp>
      <p:sp>
        <p:nvSpPr>
          <p:cNvPr id="24" name="Marcador de texto 7">
            <a:extLst>
              <a:ext uri="{FF2B5EF4-FFF2-40B4-BE49-F238E27FC236}">
                <a16:creationId xmlns:a16="http://schemas.microsoft.com/office/drawing/2014/main" xmlns="" id="{25E4DCC9-BFDD-214C-8A37-D2631A73A15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32" name="Conector recto 31">
            <a:extLst>
              <a:ext uri="{FF2B5EF4-FFF2-40B4-BE49-F238E27FC236}">
                <a16:creationId xmlns:a16="http://schemas.microsoft.com/office/drawing/2014/main" xmlns="" id="{27BEEAA3-8A69-6742-A85F-8DE31548C73D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3" name="Marcador de texto 7">
            <a:extLst>
              <a:ext uri="{FF2B5EF4-FFF2-40B4-BE49-F238E27FC236}">
                <a16:creationId xmlns:a16="http://schemas.microsoft.com/office/drawing/2014/main" xmlns="" id="{14500FF3-659D-5B46-B3EA-B3149442A41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32188122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752" userDrawn="1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lámina comparativa con foto/lámina comparativa foto/icon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21" name="Conector recto 74">
            <a:extLst>
              <a:ext uri="{FF2B5EF4-FFF2-40B4-BE49-F238E27FC236}">
                <a16:creationId xmlns:a16="http://schemas.microsoft.com/office/drawing/2014/main" xmlns="" id="{D6D37DC4-4EA6-9544-8D43-FDA98A0A4224}"/>
              </a:ext>
            </a:extLst>
          </p:cNvPr>
          <p:cNvSpPr/>
          <p:nvPr userDrawn="1"/>
        </p:nvSpPr>
        <p:spPr>
          <a:xfrm>
            <a:off x="5761618" y="1888949"/>
            <a:ext cx="0" cy="4358665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2836" rIns="22836"/>
          <a:lstStyle/>
          <a:p>
            <a:pPr defTabSz="1217024">
              <a:defRPr>
                <a:latin typeface="Arial"/>
                <a:ea typeface="Arial"/>
                <a:cs typeface="Arial"/>
                <a:sym typeface="Arial"/>
              </a:defRPr>
            </a:pPr>
            <a:endParaRPr sz="1200" dirty="0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36" name="Marcador de texto 7">
            <a:extLst>
              <a:ext uri="{FF2B5EF4-FFF2-40B4-BE49-F238E27FC236}">
                <a16:creationId xmlns:a16="http://schemas.microsoft.com/office/drawing/2014/main" xmlns="" id="{F98F0A76-E459-7040-92DF-0796E35D78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8293" y="3984493"/>
            <a:ext cx="1993255" cy="22154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41" name="Marcador de texto 7">
            <a:extLst>
              <a:ext uri="{FF2B5EF4-FFF2-40B4-BE49-F238E27FC236}">
                <a16:creationId xmlns:a16="http://schemas.microsoft.com/office/drawing/2014/main" xmlns="" id="{0DFE9962-D69F-9F46-8D1F-D4F2B672D85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49130" y="3984493"/>
            <a:ext cx="1993255" cy="22154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46" name="Marcador de texto 7">
            <a:extLst>
              <a:ext uri="{FF2B5EF4-FFF2-40B4-BE49-F238E27FC236}">
                <a16:creationId xmlns:a16="http://schemas.microsoft.com/office/drawing/2014/main" xmlns="" id="{40F028AC-5B4A-9844-94D7-770F95E501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27704" y="3984500"/>
            <a:ext cx="1993255" cy="22154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53" name="Conector recto 74">
            <a:extLst>
              <a:ext uri="{FF2B5EF4-FFF2-40B4-BE49-F238E27FC236}">
                <a16:creationId xmlns:a16="http://schemas.microsoft.com/office/drawing/2014/main" xmlns="" id="{5BEE3994-12D6-1249-9576-D8A33A059B6C}"/>
              </a:ext>
            </a:extLst>
          </p:cNvPr>
          <p:cNvSpPr/>
          <p:nvPr userDrawn="1"/>
        </p:nvSpPr>
        <p:spPr>
          <a:xfrm>
            <a:off x="2975911" y="1888949"/>
            <a:ext cx="0" cy="4358665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2836" rIns="22836"/>
          <a:lstStyle/>
          <a:p>
            <a:pPr defTabSz="1217024">
              <a:defRPr>
                <a:latin typeface="Arial"/>
                <a:ea typeface="Arial"/>
                <a:cs typeface="Arial"/>
                <a:sym typeface="Arial"/>
              </a:defRPr>
            </a:pPr>
            <a:endParaRPr sz="1200" dirty="0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54" name="Marcador de texto 7">
            <a:extLst>
              <a:ext uri="{FF2B5EF4-FFF2-40B4-BE49-F238E27FC236}">
                <a16:creationId xmlns:a16="http://schemas.microsoft.com/office/drawing/2014/main" xmlns="" id="{42F8710E-2DE8-074A-B6FC-EE460A7B8A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8293" y="3424296"/>
            <a:ext cx="1993255" cy="46800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</a:t>
            </a:r>
          </a:p>
          <a:p>
            <a:pPr lvl="0"/>
            <a:r>
              <a:rPr lang="es-ES" dirty="0"/>
              <a:t>Bold 16</a:t>
            </a:r>
            <a:endParaRPr lang="es-CL" dirty="0"/>
          </a:p>
        </p:txBody>
      </p:sp>
      <p:sp>
        <p:nvSpPr>
          <p:cNvPr id="55" name="Marcador de texto 7">
            <a:extLst>
              <a:ext uri="{FF2B5EF4-FFF2-40B4-BE49-F238E27FC236}">
                <a16:creationId xmlns:a16="http://schemas.microsoft.com/office/drawing/2014/main" xmlns="" id="{02CB12F5-EDD8-E346-9DE9-3A19237D421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49130" y="3424296"/>
            <a:ext cx="1993255" cy="46800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</a:t>
            </a:r>
          </a:p>
          <a:p>
            <a:pPr lvl="0"/>
            <a:r>
              <a:rPr lang="es-ES" dirty="0"/>
              <a:t>Bold 16</a:t>
            </a:r>
            <a:endParaRPr lang="es-CL" dirty="0"/>
          </a:p>
        </p:txBody>
      </p:sp>
      <p:sp>
        <p:nvSpPr>
          <p:cNvPr id="56" name="Marcador de texto 7">
            <a:extLst>
              <a:ext uri="{FF2B5EF4-FFF2-40B4-BE49-F238E27FC236}">
                <a16:creationId xmlns:a16="http://schemas.microsoft.com/office/drawing/2014/main" xmlns="" id="{5D9451A5-0C90-6A4B-9663-51CDE3D8B0E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27704" y="3424296"/>
            <a:ext cx="1993255" cy="46800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</a:t>
            </a:r>
          </a:p>
          <a:p>
            <a:pPr lvl="0"/>
            <a:r>
              <a:rPr lang="es-ES" dirty="0"/>
              <a:t>Bold 16</a:t>
            </a:r>
            <a:endParaRPr lang="es-CL" dirty="0"/>
          </a:p>
        </p:txBody>
      </p:sp>
      <p:sp>
        <p:nvSpPr>
          <p:cNvPr id="57" name="Marcador de posición de imagen 2">
            <a:extLst>
              <a:ext uri="{FF2B5EF4-FFF2-40B4-BE49-F238E27FC236}">
                <a16:creationId xmlns:a16="http://schemas.microsoft.com/office/drawing/2014/main" xmlns="" id="{D3DF0AC5-CFA7-6341-8507-840E9C986E3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58291" y="1889084"/>
            <a:ext cx="1619461" cy="121364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58" name="Marcador de posición de imagen 2">
            <a:extLst>
              <a:ext uri="{FF2B5EF4-FFF2-40B4-BE49-F238E27FC236}">
                <a16:creationId xmlns:a16="http://schemas.microsoft.com/office/drawing/2014/main" xmlns="" id="{17B499AE-C5B2-794D-8551-F1F602A885B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249130" y="1889084"/>
            <a:ext cx="1619461" cy="121364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59" name="Marcador de posición de imagen 2">
            <a:extLst>
              <a:ext uri="{FF2B5EF4-FFF2-40B4-BE49-F238E27FC236}">
                <a16:creationId xmlns:a16="http://schemas.microsoft.com/office/drawing/2014/main" xmlns="" id="{DE550592-7ED0-A544-9D4F-0101680080E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027699" y="1889084"/>
            <a:ext cx="1619461" cy="121364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28" name="Rectángulo 27">
            <a:extLst>
              <a:ext uri="{FF2B5EF4-FFF2-40B4-BE49-F238E27FC236}">
                <a16:creationId xmlns:a16="http://schemas.microsoft.com/office/drawing/2014/main" xmlns="" id="{2C43F09E-A773-E547-95D6-CF8477D8072A}"/>
              </a:ext>
            </a:extLst>
          </p:cNvPr>
          <p:cNvSpPr>
            <a:spLocks/>
          </p:cNvSpPr>
          <p:nvPr userDrawn="1"/>
        </p:nvSpPr>
        <p:spPr>
          <a:xfrm>
            <a:off x="9183171" y="3744639"/>
            <a:ext cx="2556333" cy="59428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747" tIns="50747" rIns="50747" bIns="50747" numCol="1" spcCol="38100" rtlCol="0" anchor="ctr">
            <a:spAutoFit/>
          </a:bodyPr>
          <a:lstStyle/>
          <a:p>
            <a:pPr algn="ctr" defTabSz="824562" hangingPunct="0"/>
            <a:endParaRPr lang="es-CL" sz="3196" dirty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0" name="Marcador de texto 7">
            <a:extLst>
              <a:ext uri="{FF2B5EF4-FFF2-40B4-BE49-F238E27FC236}">
                <a16:creationId xmlns:a16="http://schemas.microsoft.com/office/drawing/2014/main" xmlns="" id="{ADDB372D-3C0A-9843-8A24-4C447B4FFFC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274360" y="2033486"/>
            <a:ext cx="2383013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31" name="Marcador de texto 7">
            <a:extLst>
              <a:ext uri="{FF2B5EF4-FFF2-40B4-BE49-F238E27FC236}">
                <a16:creationId xmlns:a16="http://schemas.microsoft.com/office/drawing/2014/main" xmlns="" id="{4F4164F6-0B99-AC40-82D2-06A1C9776C2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274360" y="2623930"/>
            <a:ext cx="2383013" cy="344556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32" name="Marcador de texto 4">
            <a:extLst>
              <a:ext uri="{FF2B5EF4-FFF2-40B4-BE49-F238E27FC236}">
                <a16:creationId xmlns:a16="http://schemas.microsoft.com/office/drawing/2014/main" xmlns="" id="{63743F2B-A5AE-3F4C-B767-B2E9EB7AA468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448950" y="6467632"/>
            <a:ext cx="8377595" cy="371826"/>
          </a:xfrm>
          <a:prstGeom prst="rect">
            <a:avLst/>
          </a:prstGeom>
        </p:spPr>
        <p:txBody>
          <a:bodyPr anchor="t"/>
          <a:lstStyle>
            <a:lvl1pPr marL="228339" marR="0" indent="-228339" algn="l" defTabSz="121702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900">
                <a:solidFill>
                  <a:schemeClr val="tx2"/>
                </a:solidFill>
              </a:defRPr>
            </a:lvl1pPr>
          </a:lstStyle>
          <a:p>
            <a:pPr marL="228339" marR="0" lvl="0" indent="-228339" algn="l" defTabSz="1217024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/>
            </a:pPr>
            <a:r>
              <a:rPr lang="es-ES" dirty="0"/>
              <a:t>Texto primera fuente Arial 9</a:t>
            </a:r>
          </a:p>
          <a:p>
            <a:pPr lvl="0"/>
            <a:r>
              <a:rPr lang="es-CL" dirty="0"/>
              <a:t>Texto secundario fuente Arial 9</a:t>
            </a:r>
          </a:p>
        </p:txBody>
      </p:sp>
      <p:sp>
        <p:nvSpPr>
          <p:cNvPr id="24" name="Línea">
            <a:extLst>
              <a:ext uri="{FF2B5EF4-FFF2-40B4-BE49-F238E27FC236}">
                <a16:creationId xmlns:a16="http://schemas.microsoft.com/office/drawing/2014/main" xmlns="" id="{6381C55E-71FA-7248-BF78-2A722399DBD5}"/>
              </a:ext>
            </a:extLst>
          </p:cNvPr>
          <p:cNvSpPr/>
          <p:nvPr userDrawn="1"/>
        </p:nvSpPr>
        <p:spPr>
          <a:xfrm>
            <a:off x="8512614" y="1899777"/>
            <a:ext cx="280117" cy="430016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11" y="0"/>
                </a:moveTo>
                <a:lnTo>
                  <a:pt x="21600" y="10870"/>
                </a:lnTo>
                <a:lnTo>
                  <a:pt x="0" y="21600"/>
                </a:lnTo>
              </a:path>
            </a:pathLst>
          </a:custGeom>
          <a:ln w="114300">
            <a:solidFill>
              <a:schemeClr val="accent3">
                <a:lumMod val="40000"/>
                <a:lumOff val="60000"/>
              </a:schemeClr>
            </a:solidFill>
            <a:prstDash val="solid"/>
            <a:miter lim="400000"/>
          </a:ln>
        </p:spPr>
        <p:txBody>
          <a:bodyPr lIns="25372" tIns="25372" rIns="25372" bIns="25372" anchor="ctr"/>
          <a:lstStyle/>
          <a:p>
            <a:pPr defTabSz="1217024">
              <a:defRPr>
                <a:latin typeface="Arial"/>
                <a:ea typeface="Arial"/>
                <a:cs typeface="Arial"/>
                <a:sym typeface="Arial"/>
              </a:defRPr>
            </a:pPr>
            <a:endParaRPr sz="1200" dirty="0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5" name="Marcador de número de diapositiva 1">
            <a:extLst>
              <a:ext uri="{FF2B5EF4-FFF2-40B4-BE49-F238E27FC236}">
                <a16:creationId xmlns:a16="http://schemas.microsoft.com/office/drawing/2014/main" xmlns="" id="{5BAD7F1D-419D-FF40-B4CE-455DD130ED72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8A8A8A"/>
                </a:solidFill>
              </a:rPr>
              <a:pPr/>
              <a:t>‹Nº›</a:t>
            </a:fld>
            <a:endParaRPr lang="es-CL" dirty="0">
              <a:solidFill>
                <a:srgbClr val="8A8A8A"/>
              </a:solidFill>
            </a:endParaRPr>
          </a:p>
        </p:txBody>
      </p:sp>
      <p:sp>
        <p:nvSpPr>
          <p:cNvPr id="23" name="Marcador de texto 7">
            <a:extLst>
              <a:ext uri="{FF2B5EF4-FFF2-40B4-BE49-F238E27FC236}">
                <a16:creationId xmlns:a16="http://schemas.microsoft.com/office/drawing/2014/main" xmlns="" id="{0F454693-6D1A-2246-86B9-7924B68505F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26" name="Conector recto 25">
            <a:extLst>
              <a:ext uri="{FF2B5EF4-FFF2-40B4-BE49-F238E27FC236}">
                <a16:creationId xmlns:a16="http://schemas.microsoft.com/office/drawing/2014/main" xmlns="" id="{6FE459EB-A05F-0346-B414-0F58EBD5D5EF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7" name="Marcador de texto 7">
            <a:extLst>
              <a:ext uri="{FF2B5EF4-FFF2-40B4-BE49-F238E27FC236}">
                <a16:creationId xmlns:a16="http://schemas.microsoft.com/office/drawing/2014/main" xmlns="" id="{F8957E07-7EBE-8B42-986C-CCD0C8363C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35504283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976" userDrawn="1">
          <p15:clr>
            <a:srgbClr val="FBAE40"/>
          </p15:clr>
        </p15:guide>
        <p15:guide id="2" pos="213" userDrawn="1">
          <p15:clr>
            <a:srgbClr val="FBAE40"/>
          </p15:clr>
        </p15:guide>
        <p15:guide id="3" orient="horz" pos="903" userDrawn="1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ámina comparativ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xmlns="" id="{11EC41E5-806D-2E4E-AAA0-2EC2EC18FE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3" y="1596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9527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3" y="1596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>
            <a:extLst>
              <a:ext uri="{FF2B5EF4-FFF2-40B4-BE49-F238E27FC236}">
                <a16:creationId xmlns:a16="http://schemas.microsoft.com/office/drawing/2014/main" xmlns="" id="{2911EB5D-1BA9-2A4A-845D-FB2FAE605904}"/>
              </a:ext>
            </a:extLst>
          </p:cNvPr>
          <p:cNvSpPr/>
          <p:nvPr userDrawn="1"/>
        </p:nvSpPr>
        <p:spPr>
          <a:xfrm>
            <a:off x="9219176" y="3726359"/>
            <a:ext cx="2520328" cy="59428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747" tIns="50747" rIns="50747" bIns="50747" numCol="1" spcCol="38100" rtlCol="0" anchor="ctr">
            <a:spAutoFit/>
          </a:bodyPr>
          <a:lstStyle/>
          <a:p>
            <a:pPr algn="ctr" defTabSz="824562" hangingPunct="0"/>
            <a:endParaRPr lang="es-CL" sz="3196" dirty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36" name="Marcador de texto 7">
            <a:extLst>
              <a:ext uri="{FF2B5EF4-FFF2-40B4-BE49-F238E27FC236}">
                <a16:creationId xmlns:a16="http://schemas.microsoft.com/office/drawing/2014/main" xmlns="" id="{F98F0A76-E459-7040-92DF-0796E35D78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347853" y="2386495"/>
            <a:ext cx="5352814" cy="88255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53" name="Conector recto 74">
            <a:extLst>
              <a:ext uri="{FF2B5EF4-FFF2-40B4-BE49-F238E27FC236}">
                <a16:creationId xmlns:a16="http://schemas.microsoft.com/office/drawing/2014/main" xmlns="" id="{5BEE3994-12D6-1249-9576-D8A33A059B6C}"/>
              </a:ext>
            </a:extLst>
          </p:cNvPr>
          <p:cNvSpPr/>
          <p:nvPr userDrawn="1"/>
        </p:nvSpPr>
        <p:spPr>
          <a:xfrm>
            <a:off x="1933629" y="2379377"/>
            <a:ext cx="0" cy="888534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2836" rIns="22836"/>
          <a:lstStyle/>
          <a:p>
            <a:pPr defTabSz="1217024">
              <a:defRPr>
                <a:latin typeface="Arial"/>
                <a:ea typeface="Arial"/>
                <a:cs typeface="Arial"/>
                <a:sym typeface="Arial"/>
              </a:defRPr>
            </a:pPr>
            <a:endParaRPr sz="1200" dirty="0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54" name="Marcador de texto 7">
            <a:extLst>
              <a:ext uri="{FF2B5EF4-FFF2-40B4-BE49-F238E27FC236}">
                <a16:creationId xmlns:a16="http://schemas.microsoft.com/office/drawing/2014/main" xmlns="" id="{42F8710E-2DE8-074A-B6FC-EE460A7B8A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9717" y="2587447"/>
            <a:ext cx="1268922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25" name="Marcador de texto 7">
            <a:extLst>
              <a:ext uri="{FF2B5EF4-FFF2-40B4-BE49-F238E27FC236}">
                <a16:creationId xmlns:a16="http://schemas.microsoft.com/office/drawing/2014/main" xmlns="" id="{50306EC6-0DBE-CA43-A0DD-EF256EA8F17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347853" y="3602233"/>
            <a:ext cx="5352814" cy="88255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26" name="Conector recto 74">
            <a:extLst>
              <a:ext uri="{FF2B5EF4-FFF2-40B4-BE49-F238E27FC236}">
                <a16:creationId xmlns:a16="http://schemas.microsoft.com/office/drawing/2014/main" xmlns="" id="{66BC8E95-AD01-7340-AEF4-FA9267A7B96C}"/>
              </a:ext>
            </a:extLst>
          </p:cNvPr>
          <p:cNvSpPr/>
          <p:nvPr userDrawn="1"/>
        </p:nvSpPr>
        <p:spPr>
          <a:xfrm>
            <a:off x="1933629" y="3595114"/>
            <a:ext cx="0" cy="888534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2836" rIns="22836"/>
          <a:lstStyle/>
          <a:p>
            <a:pPr defTabSz="1217024">
              <a:defRPr>
                <a:latin typeface="Arial"/>
                <a:ea typeface="Arial"/>
                <a:cs typeface="Arial"/>
                <a:sym typeface="Arial"/>
              </a:defRPr>
            </a:pPr>
            <a:endParaRPr sz="1200" dirty="0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7" name="Marcador de texto 7">
            <a:extLst>
              <a:ext uri="{FF2B5EF4-FFF2-40B4-BE49-F238E27FC236}">
                <a16:creationId xmlns:a16="http://schemas.microsoft.com/office/drawing/2014/main" xmlns="" id="{D0EF8C13-D250-3B48-93E5-9C3D6F1E4C9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59717" y="3803184"/>
            <a:ext cx="1268922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28" name="Marcador de texto 7">
            <a:extLst>
              <a:ext uri="{FF2B5EF4-FFF2-40B4-BE49-F238E27FC236}">
                <a16:creationId xmlns:a16="http://schemas.microsoft.com/office/drawing/2014/main" xmlns="" id="{0B4D78F6-630E-0648-BAC8-17387BDBB3B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347853" y="4814980"/>
            <a:ext cx="5352814" cy="88255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29" name="Conector recto 74">
            <a:extLst>
              <a:ext uri="{FF2B5EF4-FFF2-40B4-BE49-F238E27FC236}">
                <a16:creationId xmlns:a16="http://schemas.microsoft.com/office/drawing/2014/main" xmlns="" id="{0F490E9C-14C0-9941-B731-8CF1EB77CFB0}"/>
              </a:ext>
            </a:extLst>
          </p:cNvPr>
          <p:cNvSpPr/>
          <p:nvPr userDrawn="1"/>
        </p:nvSpPr>
        <p:spPr>
          <a:xfrm>
            <a:off x="1933629" y="4807863"/>
            <a:ext cx="0" cy="888534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2836" rIns="22836"/>
          <a:lstStyle/>
          <a:p>
            <a:pPr defTabSz="1217024">
              <a:defRPr>
                <a:latin typeface="Arial"/>
                <a:ea typeface="Arial"/>
                <a:cs typeface="Arial"/>
                <a:sym typeface="Arial"/>
              </a:defRPr>
            </a:pPr>
            <a:endParaRPr sz="1200" dirty="0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30" name="Marcador de texto 7">
            <a:extLst>
              <a:ext uri="{FF2B5EF4-FFF2-40B4-BE49-F238E27FC236}">
                <a16:creationId xmlns:a16="http://schemas.microsoft.com/office/drawing/2014/main" xmlns="" id="{EF047069-CE19-1842-BAD4-C26C6CDE055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9717" y="5015932"/>
            <a:ext cx="1268922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41" name="Marcador de texto 7">
            <a:extLst>
              <a:ext uri="{FF2B5EF4-FFF2-40B4-BE49-F238E27FC236}">
                <a16:creationId xmlns:a16="http://schemas.microsoft.com/office/drawing/2014/main" xmlns="" id="{02342014-A163-7C4D-8310-87B690C18D4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286236" y="2501440"/>
            <a:ext cx="2383013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42" name="Marcador de texto 7">
            <a:extLst>
              <a:ext uri="{FF2B5EF4-FFF2-40B4-BE49-F238E27FC236}">
                <a16:creationId xmlns:a16="http://schemas.microsoft.com/office/drawing/2014/main" xmlns="" id="{89A58E29-5BE1-E74F-82E9-E7C5220EE4D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286236" y="3011602"/>
            <a:ext cx="2383013" cy="256756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43" name="Marcador de texto 4">
            <a:extLst>
              <a:ext uri="{FF2B5EF4-FFF2-40B4-BE49-F238E27FC236}">
                <a16:creationId xmlns:a16="http://schemas.microsoft.com/office/drawing/2014/main" xmlns="" id="{7E4CF988-A96C-B747-AC71-EB9FDD4EAE76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457264" y="6475945"/>
            <a:ext cx="8377595" cy="371826"/>
          </a:xfrm>
          <a:prstGeom prst="rect">
            <a:avLst/>
          </a:prstGeom>
        </p:spPr>
        <p:txBody>
          <a:bodyPr/>
          <a:lstStyle>
            <a:lvl1pPr marL="228339" indent="-228339">
              <a:lnSpc>
                <a:spcPct val="100000"/>
              </a:lnSpc>
              <a:spcBef>
                <a:spcPts val="100"/>
              </a:spcBef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900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Texto primera fuente Arial 9</a:t>
            </a:r>
          </a:p>
          <a:p>
            <a:pPr lvl="0"/>
            <a:r>
              <a:rPr lang="es-CL" dirty="0"/>
              <a:t>Texto sfuente Arial 9</a:t>
            </a:r>
          </a:p>
        </p:txBody>
      </p:sp>
      <p:sp>
        <p:nvSpPr>
          <p:cNvPr id="23" name="Línea">
            <a:extLst>
              <a:ext uri="{FF2B5EF4-FFF2-40B4-BE49-F238E27FC236}">
                <a16:creationId xmlns:a16="http://schemas.microsoft.com/office/drawing/2014/main" xmlns="" id="{CF1F37D8-7FD7-DB46-90C0-999038641338}"/>
              </a:ext>
            </a:extLst>
          </p:cNvPr>
          <p:cNvSpPr/>
          <p:nvPr userDrawn="1"/>
        </p:nvSpPr>
        <p:spPr>
          <a:xfrm>
            <a:off x="8319866" y="2345408"/>
            <a:ext cx="280117" cy="33480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11" y="0"/>
                </a:moveTo>
                <a:lnTo>
                  <a:pt x="21600" y="10870"/>
                </a:lnTo>
                <a:lnTo>
                  <a:pt x="0" y="21600"/>
                </a:lnTo>
              </a:path>
            </a:pathLst>
          </a:custGeom>
          <a:ln w="114300">
            <a:solidFill>
              <a:schemeClr val="accent3">
                <a:lumMod val="40000"/>
                <a:lumOff val="60000"/>
              </a:schemeClr>
            </a:solidFill>
            <a:prstDash val="solid"/>
            <a:miter lim="400000"/>
          </a:ln>
        </p:spPr>
        <p:txBody>
          <a:bodyPr lIns="25372" tIns="25372" rIns="25372" bIns="25372" anchor="ctr"/>
          <a:lstStyle/>
          <a:p>
            <a:pPr defTabSz="1217024">
              <a:defRPr>
                <a:latin typeface="Arial"/>
                <a:ea typeface="Arial"/>
                <a:cs typeface="Arial"/>
                <a:sym typeface="Arial"/>
              </a:defRPr>
            </a:pPr>
            <a:endParaRPr sz="1200" dirty="0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31" name="Marcador de número de diapositiva 1">
            <a:extLst>
              <a:ext uri="{FF2B5EF4-FFF2-40B4-BE49-F238E27FC236}">
                <a16:creationId xmlns:a16="http://schemas.microsoft.com/office/drawing/2014/main" xmlns="" id="{B5FADFF0-C5A7-6C44-B11D-F86CE0FE0063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8A8A8A"/>
                </a:solidFill>
              </a:rPr>
              <a:pPr/>
              <a:t>‹Nº›</a:t>
            </a:fld>
            <a:endParaRPr lang="es-CL" dirty="0">
              <a:solidFill>
                <a:srgbClr val="8A8A8A"/>
              </a:solidFill>
            </a:endParaRPr>
          </a:p>
        </p:txBody>
      </p:sp>
      <p:sp>
        <p:nvSpPr>
          <p:cNvPr id="22" name="Marcador de texto 7">
            <a:extLst>
              <a:ext uri="{FF2B5EF4-FFF2-40B4-BE49-F238E27FC236}">
                <a16:creationId xmlns:a16="http://schemas.microsoft.com/office/drawing/2014/main" xmlns="" id="{396EC5D0-EB4A-3A42-8898-1FDF29DB249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32" name="Conector recto 31">
            <a:extLst>
              <a:ext uri="{FF2B5EF4-FFF2-40B4-BE49-F238E27FC236}">
                <a16:creationId xmlns:a16="http://schemas.microsoft.com/office/drawing/2014/main" xmlns="" id="{26AB80EE-EB42-3B4D-A955-092EDBA364EB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3" name="Marcador de texto 7">
            <a:extLst>
              <a:ext uri="{FF2B5EF4-FFF2-40B4-BE49-F238E27FC236}">
                <a16:creationId xmlns:a16="http://schemas.microsoft.com/office/drawing/2014/main" xmlns="" id="{A238EFE4-5978-AF43-A7D8-8F70217F9A1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40240635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128" userDrawn="1">
          <p15:clr>
            <a:srgbClr val="FBAE40"/>
          </p15:clr>
        </p15:guide>
        <p15:guide id="2" pos="213" userDrawn="1">
          <p15:clr>
            <a:srgbClr val="FBAE40"/>
          </p15:clr>
        </p15:guide>
        <p15:guide id="3" orient="horz" pos="2734" userDrawn="1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ámina comparativa 2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xmlns="" id="{5531200A-67B4-814A-95C6-ABA059808C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3" y="1596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0551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3" y="1596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ángulo 3">
            <a:extLst>
              <a:ext uri="{FF2B5EF4-FFF2-40B4-BE49-F238E27FC236}">
                <a16:creationId xmlns:a16="http://schemas.microsoft.com/office/drawing/2014/main" xmlns="" id="{27BAF180-D9D1-0C4D-852E-CDC458C6A5AD}"/>
              </a:ext>
            </a:extLst>
          </p:cNvPr>
          <p:cNvSpPr/>
          <p:nvPr userDrawn="1"/>
        </p:nvSpPr>
        <p:spPr>
          <a:xfrm>
            <a:off x="9216073" y="3672921"/>
            <a:ext cx="2520328" cy="59428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747" tIns="50747" rIns="50747" bIns="50747" numCol="1" spcCol="38100" rtlCol="0" anchor="ctr">
            <a:spAutoFit/>
          </a:bodyPr>
          <a:lstStyle/>
          <a:p>
            <a:pPr algn="ctr" defTabSz="824562" hangingPunct="0"/>
            <a:endParaRPr lang="es-CL" sz="3196" dirty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22" name="Línea">
            <a:extLst>
              <a:ext uri="{FF2B5EF4-FFF2-40B4-BE49-F238E27FC236}">
                <a16:creationId xmlns:a16="http://schemas.microsoft.com/office/drawing/2014/main" xmlns="" id="{92245F91-D7B9-BE4A-83D9-E37F606258CA}"/>
              </a:ext>
            </a:extLst>
          </p:cNvPr>
          <p:cNvSpPr/>
          <p:nvPr userDrawn="1"/>
        </p:nvSpPr>
        <p:spPr>
          <a:xfrm>
            <a:off x="8617048" y="2134630"/>
            <a:ext cx="280117" cy="36720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11" y="0"/>
                </a:moveTo>
                <a:lnTo>
                  <a:pt x="21600" y="10870"/>
                </a:lnTo>
                <a:lnTo>
                  <a:pt x="0" y="21600"/>
                </a:lnTo>
              </a:path>
            </a:pathLst>
          </a:custGeom>
          <a:ln w="114300">
            <a:solidFill>
              <a:schemeClr val="accent3">
                <a:lumMod val="40000"/>
                <a:lumOff val="60000"/>
              </a:schemeClr>
            </a:solidFill>
            <a:prstDash val="solid"/>
            <a:miter lim="400000"/>
          </a:ln>
        </p:spPr>
        <p:txBody>
          <a:bodyPr lIns="25372" tIns="25372" rIns="25372" bIns="25372" anchor="ctr"/>
          <a:lstStyle/>
          <a:p>
            <a:pPr defTabSz="1217024">
              <a:defRPr>
                <a:latin typeface="Arial"/>
                <a:ea typeface="Arial"/>
                <a:cs typeface="Arial"/>
                <a:sym typeface="Arial"/>
              </a:defRPr>
            </a:pPr>
            <a:endParaRPr sz="1200" dirty="0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36" name="Marcador de texto 7">
            <a:extLst>
              <a:ext uri="{FF2B5EF4-FFF2-40B4-BE49-F238E27FC236}">
                <a16:creationId xmlns:a16="http://schemas.microsoft.com/office/drawing/2014/main" xmlns="" id="{F98F0A76-E459-7040-92DF-0796E35D78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05735" y="2134630"/>
            <a:ext cx="4033860" cy="108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54" name="Marcador de texto 7">
            <a:extLst>
              <a:ext uri="{FF2B5EF4-FFF2-40B4-BE49-F238E27FC236}">
                <a16:creationId xmlns:a16="http://schemas.microsoft.com/office/drawing/2014/main" xmlns="" id="{42F8710E-2DE8-074A-B6FC-EE460A7B8A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17590" y="2457416"/>
            <a:ext cx="1279594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34" name="Marcador de posición de imagen 2">
            <a:extLst>
              <a:ext uri="{FF2B5EF4-FFF2-40B4-BE49-F238E27FC236}">
                <a16:creationId xmlns:a16="http://schemas.microsoft.com/office/drawing/2014/main" xmlns="" id="{01391A15-7249-EE4F-A688-E4680B66FA1F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56967" y="2134630"/>
            <a:ext cx="1475539" cy="108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s-CL" dirty="0"/>
              <a:t>Doble click para incorporar una imagen</a:t>
            </a:r>
          </a:p>
        </p:txBody>
      </p:sp>
      <p:cxnSp>
        <p:nvCxnSpPr>
          <p:cNvPr id="35" name="Conector recto 34">
            <a:extLst>
              <a:ext uri="{FF2B5EF4-FFF2-40B4-BE49-F238E27FC236}">
                <a16:creationId xmlns:a16="http://schemas.microsoft.com/office/drawing/2014/main" xmlns="" id="{CBC1B177-B50F-5E40-B15D-0EC5384F83A6}"/>
              </a:ext>
            </a:extLst>
          </p:cNvPr>
          <p:cNvCxnSpPr>
            <a:cxnSpLocks/>
          </p:cNvCxnSpPr>
          <p:nvPr userDrawn="1"/>
        </p:nvCxnSpPr>
        <p:spPr>
          <a:xfrm>
            <a:off x="3691506" y="2134630"/>
            <a:ext cx="0" cy="108000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7" name="Marcador de texto 7">
            <a:extLst>
              <a:ext uri="{FF2B5EF4-FFF2-40B4-BE49-F238E27FC236}">
                <a16:creationId xmlns:a16="http://schemas.microsoft.com/office/drawing/2014/main" xmlns="" id="{5D64D211-8E0C-C94B-88E7-E1C991DD3E4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105735" y="3429039"/>
            <a:ext cx="4033860" cy="108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38" name="Marcador de texto 7">
            <a:extLst>
              <a:ext uri="{FF2B5EF4-FFF2-40B4-BE49-F238E27FC236}">
                <a16:creationId xmlns:a16="http://schemas.microsoft.com/office/drawing/2014/main" xmlns="" id="{17CE4B52-3BE3-2F44-84B5-ACEA2C0D722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217590" y="3704325"/>
            <a:ext cx="1279594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39" name="Marcador de posición de imagen 2">
            <a:extLst>
              <a:ext uri="{FF2B5EF4-FFF2-40B4-BE49-F238E27FC236}">
                <a16:creationId xmlns:a16="http://schemas.microsoft.com/office/drawing/2014/main" xmlns="" id="{0ECC6833-D921-F248-810B-5EEE0E76CE14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456967" y="3429039"/>
            <a:ext cx="1475539" cy="108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s-CL" dirty="0"/>
              <a:t>Doble click para incorporar una imagen</a:t>
            </a:r>
          </a:p>
        </p:txBody>
      </p:sp>
      <p:cxnSp>
        <p:nvCxnSpPr>
          <p:cNvPr id="40" name="Conector recto 39">
            <a:extLst>
              <a:ext uri="{FF2B5EF4-FFF2-40B4-BE49-F238E27FC236}">
                <a16:creationId xmlns:a16="http://schemas.microsoft.com/office/drawing/2014/main" xmlns="" id="{94711B5F-DD02-6648-B446-B9333D6370A5}"/>
              </a:ext>
            </a:extLst>
          </p:cNvPr>
          <p:cNvCxnSpPr>
            <a:cxnSpLocks/>
          </p:cNvCxnSpPr>
          <p:nvPr userDrawn="1"/>
        </p:nvCxnSpPr>
        <p:spPr>
          <a:xfrm>
            <a:off x="3691506" y="3429039"/>
            <a:ext cx="0" cy="108000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41" name="Marcador de texto 7">
            <a:extLst>
              <a:ext uri="{FF2B5EF4-FFF2-40B4-BE49-F238E27FC236}">
                <a16:creationId xmlns:a16="http://schemas.microsoft.com/office/drawing/2014/main" xmlns="" id="{4B4FD424-FA2D-1B46-A149-58EF233359F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105735" y="4722386"/>
            <a:ext cx="4033860" cy="108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42" name="Marcador de texto 7">
            <a:extLst>
              <a:ext uri="{FF2B5EF4-FFF2-40B4-BE49-F238E27FC236}">
                <a16:creationId xmlns:a16="http://schemas.microsoft.com/office/drawing/2014/main" xmlns="" id="{2A601485-B11B-7B46-9F04-9A94F7E41A4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217590" y="5045172"/>
            <a:ext cx="1279594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43" name="Marcador de posición de imagen 2">
            <a:extLst>
              <a:ext uri="{FF2B5EF4-FFF2-40B4-BE49-F238E27FC236}">
                <a16:creationId xmlns:a16="http://schemas.microsoft.com/office/drawing/2014/main" xmlns="" id="{AEA8A8BB-FA5E-874E-AAB9-F559CF5B08D6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456967" y="4722386"/>
            <a:ext cx="1475539" cy="108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s-CL" dirty="0"/>
              <a:t>Doble click para incorporar una imagen</a:t>
            </a:r>
          </a:p>
        </p:txBody>
      </p:sp>
      <p:cxnSp>
        <p:nvCxnSpPr>
          <p:cNvPr id="44" name="Conector recto 43">
            <a:extLst>
              <a:ext uri="{FF2B5EF4-FFF2-40B4-BE49-F238E27FC236}">
                <a16:creationId xmlns:a16="http://schemas.microsoft.com/office/drawing/2014/main" xmlns="" id="{E4F06A31-FE62-FA43-82D4-43BC324386A3}"/>
              </a:ext>
            </a:extLst>
          </p:cNvPr>
          <p:cNvCxnSpPr>
            <a:cxnSpLocks/>
          </p:cNvCxnSpPr>
          <p:nvPr userDrawn="1"/>
        </p:nvCxnSpPr>
        <p:spPr>
          <a:xfrm>
            <a:off x="3691506" y="4722386"/>
            <a:ext cx="0" cy="108000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45" name="Marcador de texto 7">
            <a:extLst>
              <a:ext uri="{FF2B5EF4-FFF2-40B4-BE49-F238E27FC236}">
                <a16:creationId xmlns:a16="http://schemas.microsoft.com/office/drawing/2014/main" xmlns="" id="{86474526-7DF2-164F-B33E-6141E63E9BE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299489" y="2205763"/>
            <a:ext cx="2383013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46" name="Marcador de texto 7">
            <a:extLst>
              <a:ext uri="{FF2B5EF4-FFF2-40B4-BE49-F238E27FC236}">
                <a16:creationId xmlns:a16="http://schemas.microsoft.com/office/drawing/2014/main" xmlns="" id="{D3D12324-E365-794E-9EF0-965E7CA66F2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299489" y="2733300"/>
            <a:ext cx="2383013" cy="296685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32" name="Marcador de texto 4">
            <a:extLst>
              <a:ext uri="{FF2B5EF4-FFF2-40B4-BE49-F238E27FC236}">
                <a16:creationId xmlns:a16="http://schemas.microsoft.com/office/drawing/2014/main" xmlns="" id="{3A8DF9D6-5EAA-1441-80FE-873F0F2A7A11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436621" y="6461125"/>
            <a:ext cx="8377595" cy="371826"/>
          </a:xfrm>
          <a:prstGeom prst="rect">
            <a:avLst/>
          </a:prstGeom>
        </p:spPr>
        <p:txBody>
          <a:bodyPr/>
          <a:lstStyle>
            <a:lvl1pPr marL="228339" indent="-228339">
              <a:lnSpc>
                <a:spcPct val="100000"/>
              </a:lnSpc>
              <a:spcBef>
                <a:spcPts val="100"/>
              </a:spcBef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900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Texto primera fuente Arial 9</a:t>
            </a:r>
          </a:p>
          <a:p>
            <a:pPr lvl="0"/>
            <a:r>
              <a:rPr lang="es-CL" dirty="0"/>
              <a:t>Texto sfuente Arial 9</a:t>
            </a:r>
          </a:p>
        </p:txBody>
      </p:sp>
      <p:sp>
        <p:nvSpPr>
          <p:cNvPr id="27" name="Marcador de número de diapositiva 1">
            <a:extLst>
              <a:ext uri="{FF2B5EF4-FFF2-40B4-BE49-F238E27FC236}">
                <a16:creationId xmlns:a16="http://schemas.microsoft.com/office/drawing/2014/main" xmlns="" id="{7F75FD05-741A-804D-B57C-7FACD50F96E5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8A8A8A"/>
                </a:solidFill>
              </a:rPr>
              <a:pPr/>
              <a:t>‹Nº›</a:t>
            </a:fld>
            <a:endParaRPr lang="es-CL" dirty="0">
              <a:solidFill>
                <a:srgbClr val="8A8A8A"/>
              </a:solidFill>
            </a:endParaRPr>
          </a:p>
        </p:txBody>
      </p:sp>
      <p:sp>
        <p:nvSpPr>
          <p:cNvPr id="25" name="Marcador de texto 7">
            <a:extLst>
              <a:ext uri="{FF2B5EF4-FFF2-40B4-BE49-F238E27FC236}">
                <a16:creationId xmlns:a16="http://schemas.microsoft.com/office/drawing/2014/main" xmlns="" id="{C5ED000E-D5A6-F144-A663-DE3BA9659C3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29" name="Conector recto 28">
            <a:extLst>
              <a:ext uri="{FF2B5EF4-FFF2-40B4-BE49-F238E27FC236}">
                <a16:creationId xmlns:a16="http://schemas.microsoft.com/office/drawing/2014/main" xmlns="" id="{C321E7CF-1D96-004A-B00A-89BB11E1F662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0" name="Marcador de texto 7">
            <a:extLst>
              <a:ext uri="{FF2B5EF4-FFF2-40B4-BE49-F238E27FC236}">
                <a16:creationId xmlns:a16="http://schemas.microsoft.com/office/drawing/2014/main" xmlns="" id="{65EEA7E1-D0E6-3F46-BEDD-59A005047D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81882603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24" userDrawn="1">
          <p15:clr>
            <a:srgbClr val="FBAE40"/>
          </p15:clr>
        </p15:guide>
        <p15:guide id="2" pos="213" userDrawn="1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ámina comparativa 2 categorías y descripcio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xmlns="" id="{0B42D332-2844-E942-96BC-37A626E303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3" y="1596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1575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3" y="1596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ángulo 4">
            <a:extLst>
              <a:ext uri="{FF2B5EF4-FFF2-40B4-BE49-F238E27FC236}">
                <a16:creationId xmlns:a16="http://schemas.microsoft.com/office/drawing/2014/main" xmlns="" id="{52ED1F8C-1BD3-014F-996B-FFB80867B4C0}"/>
              </a:ext>
            </a:extLst>
          </p:cNvPr>
          <p:cNvSpPr/>
          <p:nvPr userDrawn="1"/>
        </p:nvSpPr>
        <p:spPr>
          <a:xfrm>
            <a:off x="9216073" y="3611601"/>
            <a:ext cx="2520328" cy="59428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747" tIns="50747" rIns="50747" bIns="50747" numCol="1" spcCol="38100" rtlCol="0" anchor="ctr">
            <a:spAutoFit/>
          </a:bodyPr>
          <a:lstStyle/>
          <a:p>
            <a:pPr algn="ctr" defTabSz="824562" hangingPunct="0"/>
            <a:endParaRPr lang="es-CL" sz="3196" dirty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cxnSp>
        <p:nvCxnSpPr>
          <p:cNvPr id="108" name="Conector recto 107">
            <a:extLst>
              <a:ext uri="{FF2B5EF4-FFF2-40B4-BE49-F238E27FC236}">
                <a16:creationId xmlns:a16="http://schemas.microsoft.com/office/drawing/2014/main" xmlns="" id="{41C22BEC-E3DB-B444-918C-AC167E7F1462}"/>
              </a:ext>
            </a:extLst>
          </p:cNvPr>
          <p:cNvCxnSpPr>
            <a:cxnSpLocks/>
          </p:cNvCxnSpPr>
          <p:nvPr userDrawn="1"/>
        </p:nvCxnSpPr>
        <p:spPr>
          <a:xfrm>
            <a:off x="457188" y="3116979"/>
            <a:ext cx="8044983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14" name="Marcador de texto 7">
            <a:extLst>
              <a:ext uri="{FF2B5EF4-FFF2-40B4-BE49-F238E27FC236}">
                <a16:creationId xmlns:a16="http://schemas.microsoft.com/office/drawing/2014/main" xmlns="" id="{130CF308-4F12-CF40-8431-48ED26F5E46C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017017" y="2169127"/>
            <a:ext cx="1242881" cy="73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53" name="Marcador de texto 7">
            <a:extLst>
              <a:ext uri="{FF2B5EF4-FFF2-40B4-BE49-F238E27FC236}">
                <a16:creationId xmlns:a16="http://schemas.microsoft.com/office/drawing/2014/main" xmlns="" id="{9381C1C0-80DF-6749-9C03-56994A4072C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2390068" y="2169127"/>
            <a:ext cx="6112106" cy="7367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54" name="Marcador de texto 7">
            <a:extLst>
              <a:ext uri="{FF2B5EF4-FFF2-40B4-BE49-F238E27FC236}">
                <a16:creationId xmlns:a16="http://schemas.microsoft.com/office/drawing/2014/main" xmlns="" id="{89620A1F-682C-3E4E-85BD-1A4E04D84C0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390068" y="1733847"/>
            <a:ext cx="4087779" cy="28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55" name="Conector recto 54">
            <a:extLst>
              <a:ext uri="{FF2B5EF4-FFF2-40B4-BE49-F238E27FC236}">
                <a16:creationId xmlns:a16="http://schemas.microsoft.com/office/drawing/2014/main" xmlns="" id="{5880D28B-3A3F-674A-8248-0EF336123F8D}"/>
              </a:ext>
            </a:extLst>
          </p:cNvPr>
          <p:cNvCxnSpPr>
            <a:cxnSpLocks/>
          </p:cNvCxnSpPr>
          <p:nvPr userDrawn="1"/>
        </p:nvCxnSpPr>
        <p:spPr>
          <a:xfrm>
            <a:off x="2390068" y="2042377"/>
            <a:ext cx="6112106" cy="2948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61" name="Marcador de texto 7">
            <a:extLst>
              <a:ext uri="{FF2B5EF4-FFF2-40B4-BE49-F238E27FC236}">
                <a16:creationId xmlns:a16="http://schemas.microsoft.com/office/drawing/2014/main" xmlns="" id="{60D2818D-89F2-5146-96F4-FE5CC94A3B64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449322" y="2169127"/>
            <a:ext cx="468061" cy="399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97" b="0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cxnSp>
        <p:nvCxnSpPr>
          <p:cNvPr id="70" name="Conector recto 69">
            <a:extLst>
              <a:ext uri="{FF2B5EF4-FFF2-40B4-BE49-F238E27FC236}">
                <a16:creationId xmlns:a16="http://schemas.microsoft.com/office/drawing/2014/main" xmlns="" id="{4F3DCFE7-4201-D24B-8EB4-FA55068862F1}"/>
              </a:ext>
            </a:extLst>
          </p:cNvPr>
          <p:cNvCxnSpPr>
            <a:cxnSpLocks/>
          </p:cNvCxnSpPr>
          <p:nvPr userDrawn="1"/>
        </p:nvCxnSpPr>
        <p:spPr>
          <a:xfrm>
            <a:off x="457188" y="4688604"/>
            <a:ext cx="8044983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72" name="Marcador de texto 7">
            <a:extLst>
              <a:ext uri="{FF2B5EF4-FFF2-40B4-BE49-F238E27FC236}">
                <a16:creationId xmlns:a16="http://schemas.microsoft.com/office/drawing/2014/main" xmlns="" id="{2DFAEEC3-0D14-C64D-8AC4-8560CCC11D54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017017" y="3740752"/>
            <a:ext cx="1242881" cy="73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73" name="Marcador de texto 7">
            <a:extLst>
              <a:ext uri="{FF2B5EF4-FFF2-40B4-BE49-F238E27FC236}">
                <a16:creationId xmlns:a16="http://schemas.microsoft.com/office/drawing/2014/main" xmlns="" id="{7BB34F7A-9153-7E41-8706-B75E12C61FAF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2390068" y="3740751"/>
            <a:ext cx="6112106" cy="7367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74" name="Marcador de texto 7">
            <a:extLst>
              <a:ext uri="{FF2B5EF4-FFF2-40B4-BE49-F238E27FC236}">
                <a16:creationId xmlns:a16="http://schemas.microsoft.com/office/drawing/2014/main" xmlns="" id="{D350E885-470E-4544-9B96-6265ACDD38BD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2390068" y="3305472"/>
            <a:ext cx="4087779" cy="28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75" name="Conector recto 74">
            <a:extLst>
              <a:ext uri="{FF2B5EF4-FFF2-40B4-BE49-F238E27FC236}">
                <a16:creationId xmlns:a16="http://schemas.microsoft.com/office/drawing/2014/main" xmlns="" id="{0DA84D03-C754-C246-AC09-A3CAE3A0D217}"/>
              </a:ext>
            </a:extLst>
          </p:cNvPr>
          <p:cNvCxnSpPr>
            <a:cxnSpLocks/>
          </p:cNvCxnSpPr>
          <p:nvPr userDrawn="1"/>
        </p:nvCxnSpPr>
        <p:spPr>
          <a:xfrm>
            <a:off x="2390068" y="3614001"/>
            <a:ext cx="6112106" cy="2948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79" name="Marcador de texto 7">
            <a:extLst>
              <a:ext uri="{FF2B5EF4-FFF2-40B4-BE49-F238E27FC236}">
                <a16:creationId xmlns:a16="http://schemas.microsoft.com/office/drawing/2014/main" xmlns="" id="{5F033970-6C8B-0E48-A2EF-5615634E1F39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449322" y="3740752"/>
            <a:ext cx="468061" cy="399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97" b="0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81" name="Marcador de texto 7">
            <a:extLst>
              <a:ext uri="{FF2B5EF4-FFF2-40B4-BE49-F238E27FC236}">
                <a16:creationId xmlns:a16="http://schemas.microsoft.com/office/drawing/2014/main" xmlns="" id="{D63CF391-BF7F-E946-8EBB-B83AE538B4ED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1017017" y="5313411"/>
            <a:ext cx="1242881" cy="73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82" name="Marcador de texto 7">
            <a:extLst>
              <a:ext uri="{FF2B5EF4-FFF2-40B4-BE49-F238E27FC236}">
                <a16:creationId xmlns:a16="http://schemas.microsoft.com/office/drawing/2014/main" xmlns="" id="{B22EF754-D625-F14C-8B51-B265491331F8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2390068" y="5313411"/>
            <a:ext cx="6112106" cy="7367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83" name="Marcador de texto 7">
            <a:extLst>
              <a:ext uri="{FF2B5EF4-FFF2-40B4-BE49-F238E27FC236}">
                <a16:creationId xmlns:a16="http://schemas.microsoft.com/office/drawing/2014/main" xmlns="" id="{977B32BB-9DE9-AE4E-B3F6-BC2F0A206886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2390068" y="4878132"/>
            <a:ext cx="4087779" cy="28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84" name="Conector recto 83">
            <a:extLst>
              <a:ext uri="{FF2B5EF4-FFF2-40B4-BE49-F238E27FC236}">
                <a16:creationId xmlns:a16="http://schemas.microsoft.com/office/drawing/2014/main" xmlns="" id="{075E9141-63D8-A545-AC28-243D934CB544}"/>
              </a:ext>
            </a:extLst>
          </p:cNvPr>
          <p:cNvCxnSpPr>
            <a:cxnSpLocks/>
          </p:cNvCxnSpPr>
          <p:nvPr userDrawn="1"/>
        </p:nvCxnSpPr>
        <p:spPr>
          <a:xfrm>
            <a:off x="2390068" y="5186662"/>
            <a:ext cx="6112106" cy="2948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88" name="Marcador de texto 7">
            <a:extLst>
              <a:ext uri="{FF2B5EF4-FFF2-40B4-BE49-F238E27FC236}">
                <a16:creationId xmlns:a16="http://schemas.microsoft.com/office/drawing/2014/main" xmlns="" id="{B99DB37B-609E-1B46-AF58-881DFC2469EA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449322" y="5313411"/>
            <a:ext cx="468061" cy="399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97" b="0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37" name="Marcador de texto 7">
            <a:extLst>
              <a:ext uri="{FF2B5EF4-FFF2-40B4-BE49-F238E27FC236}">
                <a16:creationId xmlns:a16="http://schemas.microsoft.com/office/drawing/2014/main" xmlns="" id="{8668C0C2-6225-9D4F-ABD5-08A2EAB9673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299489" y="1932631"/>
            <a:ext cx="2383013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38" name="Marcador de texto 7">
            <a:extLst>
              <a:ext uri="{FF2B5EF4-FFF2-40B4-BE49-F238E27FC236}">
                <a16:creationId xmlns:a16="http://schemas.microsoft.com/office/drawing/2014/main" xmlns="" id="{FE6A9022-71A7-0D4D-94F7-2B454E9F5A1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299489" y="2507670"/>
            <a:ext cx="2383013" cy="345374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39" name="Marcador de texto 4">
            <a:extLst>
              <a:ext uri="{FF2B5EF4-FFF2-40B4-BE49-F238E27FC236}">
                <a16:creationId xmlns:a16="http://schemas.microsoft.com/office/drawing/2014/main" xmlns="" id="{7CE877C8-6FB2-CF43-A084-04A7252530E3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57264" y="6475945"/>
            <a:ext cx="8377595" cy="371826"/>
          </a:xfrm>
          <a:prstGeom prst="rect">
            <a:avLst/>
          </a:prstGeom>
        </p:spPr>
        <p:txBody>
          <a:bodyPr/>
          <a:lstStyle>
            <a:lvl1pPr marL="228339" indent="-228339">
              <a:lnSpc>
                <a:spcPct val="100000"/>
              </a:lnSpc>
              <a:spcBef>
                <a:spcPts val="100"/>
              </a:spcBef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900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Texto primera fuente Arial 9</a:t>
            </a:r>
          </a:p>
          <a:p>
            <a:pPr lvl="0"/>
            <a:r>
              <a:rPr lang="es-CL" dirty="0"/>
              <a:t>Texto segunda fuente Arial 9</a:t>
            </a:r>
          </a:p>
        </p:txBody>
      </p:sp>
      <p:sp>
        <p:nvSpPr>
          <p:cNvPr id="31" name="Línea">
            <a:extLst>
              <a:ext uri="{FF2B5EF4-FFF2-40B4-BE49-F238E27FC236}">
                <a16:creationId xmlns:a16="http://schemas.microsoft.com/office/drawing/2014/main" xmlns="" id="{E4A7219B-443C-494D-9076-3FC55AAAD0AF}"/>
              </a:ext>
            </a:extLst>
          </p:cNvPr>
          <p:cNvSpPr/>
          <p:nvPr userDrawn="1"/>
        </p:nvSpPr>
        <p:spPr>
          <a:xfrm>
            <a:off x="8735928" y="1744736"/>
            <a:ext cx="280117" cy="432211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11" y="0"/>
                </a:moveTo>
                <a:lnTo>
                  <a:pt x="21600" y="10870"/>
                </a:lnTo>
                <a:lnTo>
                  <a:pt x="0" y="21600"/>
                </a:lnTo>
              </a:path>
            </a:pathLst>
          </a:custGeom>
          <a:ln w="114300">
            <a:solidFill>
              <a:schemeClr val="accent3">
                <a:lumMod val="40000"/>
                <a:lumOff val="60000"/>
              </a:schemeClr>
            </a:solidFill>
            <a:prstDash val="solid"/>
            <a:miter lim="400000"/>
          </a:ln>
        </p:spPr>
        <p:txBody>
          <a:bodyPr lIns="25372" tIns="25372" rIns="25372" bIns="25372" anchor="ctr"/>
          <a:lstStyle/>
          <a:p>
            <a:pPr defTabSz="1217024">
              <a:defRPr>
                <a:latin typeface="Arial"/>
                <a:ea typeface="Arial"/>
                <a:cs typeface="Arial"/>
                <a:sym typeface="Arial"/>
              </a:defRPr>
            </a:pPr>
            <a:endParaRPr sz="1200" dirty="0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32" name="Marcador de número de diapositiva 1">
            <a:extLst>
              <a:ext uri="{FF2B5EF4-FFF2-40B4-BE49-F238E27FC236}">
                <a16:creationId xmlns:a16="http://schemas.microsoft.com/office/drawing/2014/main" xmlns="" id="{F52DF2DF-D41E-4045-821A-45609E7A60D8}"/>
              </a:ext>
            </a:extLst>
          </p:cNvPr>
          <p:cNvSpPr>
            <a:spLocks noGrp="1"/>
          </p:cNvSpPr>
          <p:nvPr>
            <p:ph type="sldNum" sz="quarter" idx="62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8A8A8A"/>
                </a:solidFill>
              </a:rPr>
              <a:pPr/>
              <a:t>‹Nº›</a:t>
            </a:fld>
            <a:endParaRPr lang="es-CL" dirty="0">
              <a:solidFill>
                <a:srgbClr val="8A8A8A"/>
              </a:solidFill>
            </a:endParaRPr>
          </a:p>
        </p:txBody>
      </p:sp>
      <p:sp>
        <p:nvSpPr>
          <p:cNvPr id="30" name="Marcador de texto 7">
            <a:extLst>
              <a:ext uri="{FF2B5EF4-FFF2-40B4-BE49-F238E27FC236}">
                <a16:creationId xmlns:a16="http://schemas.microsoft.com/office/drawing/2014/main" xmlns="" id="{2126314B-96AE-6A44-81BF-02ABCCDC3EE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33" name="Conector recto 32">
            <a:extLst>
              <a:ext uri="{FF2B5EF4-FFF2-40B4-BE49-F238E27FC236}">
                <a16:creationId xmlns:a16="http://schemas.microsoft.com/office/drawing/2014/main" xmlns="" id="{CEC4F83F-C3E6-C749-981A-0852F322060C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4" name="Marcador de texto 7">
            <a:extLst>
              <a:ext uri="{FF2B5EF4-FFF2-40B4-BE49-F238E27FC236}">
                <a16:creationId xmlns:a16="http://schemas.microsoft.com/office/drawing/2014/main" xmlns="" id="{C0822B04-AEDE-8844-9C60-0E23AD53147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59930275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13" userDrawn="1">
          <p15:clr>
            <a:srgbClr val="FBAE40"/>
          </p15:clr>
        </p15:guide>
        <p15:guide id="2" orient="horz" pos="834" userDrawn="1">
          <p15:clr>
            <a:srgbClr val="FBAE40"/>
          </p15:clr>
        </p15:guide>
        <p15:guide id="3" orient="horz" pos="1940" userDrawn="1">
          <p15:clr>
            <a:srgbClr val="FBAE40"/>
          </p15:clr>
        </p15:guide>
        <p15:guide id="4" orient="horz" pos="2907" userDrawn="1">
          <p15:clr>
            <a:srgbClr val="FBAE40"/>
          </p15:clr>
        </p15:guide>
        <p15:guide id="5" pos="1146" userDrawn="1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ámina comparativa 1 categorías y descripciones +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41" name="Marcador de texto 7">
            <a:extLst>
              <a:ext uri="{FF2B5EF4-FFF2-40B4-BE49-F238E27FC236}">
                <a16:creationId xmlns:a16="http://schemas.microsoft.com/office/drawing/2014/main" xmlns="" id="{4B4FD424-FA2D-1B46-A149-58EF233359F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30789" y="2074603"/>
            <a:ext cx="4701318" cy="7367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46" name="Rectángulo">
            <a:extLst>
              <a:ext uri="{FF2B5EF4-FFF2-40B4-BE49-F238E27FC236}">
                <a16:creationId xmlns:a16="http://schemas.microsoft.com/office/drawing/2014/main" xmlns="" id="{6702EB9E-A1FA-954C-A832-0A7EDF090520}"/>
              </a:ext>
            </a:extLst>
          </p:cNvPr>
          <p:cNvSpPr/>
          <p:nvPr userDrawn="1"/>
        </p:nvSpPr>
        <p:spPr>
          <a:xfrm>
            <a:off x="449322" y="2074612"/>
            <a:ext cx="1513013" cy="528415"/>
          </a:xfrm>
          <a:prstGeom prst="rect">
            <a:avLst/>
          </a:prstGeom>
          <a:solidFill>
            <a:schemeClr val="accent3"/>
          </a:solidFill>
          <a:ln w="12700">
            <a:miter lim="400000"/>
          </a:ln>
        </p:spPr>
        <p:txBody>
          <a:bodyPr lIns="25372" tIns="25372" rIns="25372" bIns="25372" anchor="ctr"/>
          <a:lstStyle/>
          <a:p>
            <a:pPr algn="ctr" defTabSz="412281"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60" name="Flecha">
            <a:extLst>
              <a:ext uri="{FF2B5EF4-FFF2-40B4-BE49-F238E27FC236}">
                <a16:creationId xmlns:a16="http://schemas.microsoft.com/office/drawing/2014/main" xmlns="" id="{E6B1C39A-FDE2-BC40-B223-3FEEA317B028}"/>
              </a:ext>
            </a:extLst>
          </p:cNvPr>
          <p:cNvSpPr/>
          <p:nvPr userDrawn="1"/>
        </p:nvSpPr>
        <p:spPr>
          <a:xfrm>
            <a:off x="2230203" y="2074612"/>
            <a:ext cx="1820683" cy="528415"/>
          </a:xfrm>
          <a:prstGeom prst="rightArrow">
            <a:avLst>
              <a:gd name="adj1" fmla="val 97321"/>
              <a:gd name="adj2" fmla="val 24371"/>
            </a:avLst>
          </a:prstGeom>
          <a:solidFill>
            <a:schemeClr val="bg2"/>
          </a:solidFill>
          <a:ln w="12700">
            <a:miter lim="400000"/>
          </a:ln>
        </p:spPr>
        <p:txBody>
          <a:bodyPr lIns="0" tIns="0" rIns="0" bIns="0"/>
          <a:lstStyle/>
          <a:p>
            <a:pPr algn="ctr" defTabSz="228339">
              <a:defRPr sz="2400">
                <a:solidFill>
                  <a:srgbClr val="595959"/>
                </a:solidFill>
                <a:latin typeface="Barlow Regular"/>
                <a:ea typeface="Barlow Regular"/>
                <a:cs typeface="Barlow Regular"/>
                <a:sym typeface="Barlow Regular"/>
              </a:defRPr>
            </a:pPr>
            <a:endParaRPr sz="1200" dirty="0">
              <a:solidFill>
                <a:srgbClr val="83B727"/>
              </a:solidFill>
              <a:ea typeface="Barlow Regular"/>
              <a:cs typeface="Arial" panose="020B0604020202020204" pitchFamily="34" charset="0"/>
              <a:sym typeface="Barlow Regular"/>
            </a:endParaRPr>
          </a:p>
        </p:txBody>
      </p:sp>
      <p:sp>
        <p:nvSpPr>
          <p:cNvPr id="62" name="Marcador de texto 7">
            <a:extLst>
              <a:ext uri="{FF2B5EF4-FFF2-40B4-BE49-F238E27FC236}">
                <a16:creationId xmlns:a16="http://schemas.microsoft.com/office/drawing/2014/main" xmlns="" id="{D011EE18-427A-614E-A45B-317571E7FBF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230204" y="1635140"/>
            <a:ext cx="2037553" cy="2189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3" name="Conector recto 2">
            <a:extLst>
              <a:ext uri="{FF2B5EF4-FFF2-40B4-BE49-F238E27FC236}">
                <a16:creationId xmlns:a16="http://schemas.microsoft.com/office/drawing/2014/main" xmlns="" id="{E707E9D6-1E74-A645-A036-DEA93AAF701B}"/>
              </a:ext>
            </a:extLst>
          </p:cNvPr>
          <p:cNvCxnSpPr>
            <a:cxnSpLocks/>
          </p:cNvCxnSpPr>
          <p:nvPr userDrawn="1"/>
        </p:nvCxnSpPr>
        <p:spPr>
          <a:xfrm>
            <a:off x="2230207" y="1932778"/>
            <a:ext cx="2037865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63" name="Marcador de texto 7">
            <a:extLst>
              <a:ext uri="{FF2B5EF4-FFF2-40B4-BE49-F238E27FC236}">
                <a16:creationId xmlns:a16="http://schemas.microsoft.com/office/drawing/2014/main" xmlns="" id="{DFCEB778-9AFC-7B4A-9AA5-3D853AD0788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30793" y="1635140"/>
            <a:ext cx="3046253" cy="2189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4</a:t>
            </a:r>
            <a:endParaRPr lang="es-CL" dirty="0"/>
          </a:p>
        </p:txBody>
      </p:sp>
      <p:cxnSp>
        <p:nvCxnSpPr>
          <p:cNvPr id="64" name="Conector recto 63">
            <a:extLst>
              <a:ext uri="{FF2B5EF4-FFF2-40B4-BE49-F238E27FC236}">
                <a16:creationId xmlns:a16="http://schemas.microsoft.com/office/drawing/2014/main" xmlns="" id="{516A11E3-D171-8641-AA4E-29E854F66822}"/>
              </a:ext>
            </a:extLst>
          </p:cNvPr>
          <p:cNvCxnSpPr>
            <a:cxnSpLocks/>
          </p:cNvCxnSpPr>
          <p:nvPr userDrawn="1"/>
        </p:nvCxnSpPr>
        <p:spPr>
          <a:xfrm>
            <a:off x="4430789" y="1932778"/>
            <a:ext cx="4701318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65" name="Marcador de texto 7">
            <a:extLst>
              <a:ext uri="{FF2B5EF4-FFF2-40B4-BE49-F238E27FC236}">
                <a16:creationId xmlns:a16="http://schemas.microsoft.com/office/drawing/2014/main" xmlns="" id="{D5CE23AB-F9F3-1C45-A483-0BE13E6B14A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383392" y="2074610"/>
            <a:ext cx="2354941" cy="7379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66" name="Marcador de texto 7">
            <a:extLst>
              <a:ext uri="{FF2B5EF4-FFF2-40B4-BE49-F238E27FC236}">
                <a16:creationId xmlns:a16="http://schemas.microsoft.com/office/drawing/2014/main" xmlns="" id="{8B692A92-E8A9-7C47-AD18-4649F0D2100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383392" y="1635140"/>
            <a:ext cx="2326952" cy="2189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67" name="Conector recto 66">
            <a:extLst>
              <a:ext uri="{FF2B5EF4-FFF2-40B4-BE49-F238E27FC236}">
                <a16:creationId xmlns:a16="http://schemas.microsoft.com/office/drawing/2014/main" xmlns="" id="{4F85BE26-F0D1-724D-91CA-79E04ECAC02F}"/>
              </a:ext>
            </a:extLst>
          </p:cNvPr>
          <p:cNvCxnSpPr>
            <a:cxnSpLocks/>
          </p:cNvCxnSpPr>
          <p:nvPr userDrawn="1"/>
        </p:nvCxnSpPr>
        <p:spPr>
          <a:xfrm>
            <a:off x="9383392" y="1932778"/>
            <a:ext cx="2354941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69" name="Marcador de texto 7">
            <a:extLst>
              <a:ext uri="{FF2B5EF4-FFF2-40B4-BE49-F238E27FC236}">
                <a16:creationId xmlns:a16="http://schemas.microsoft.com/office/drawing/2014/main" xmlns="" id="{661B3AB6-9A76-2B4A-8C31-709E7AD6C6A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297447" y="2098916"/>
            <a:ext cx="1602376" cy="47023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71" name="Marcador de texto 7">
            <a:extLst>
              <a:ext uri="{FF2B5EF4-FFF2-40B4-BE49-F238E27FC236}">
                <a16:creationId xmlns:a16="http://schemas.microsoft.com/office/drawing/2014/main" xmlns="" id="{6DF521A9-C541-1D4C-879C-AB754287F02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29181" y="2098916"/>
            <a:ext cx="1308175" cy="47023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98" name="Marcador de texto 7">
            <a:extLst>
              <a:ext uri="{FF2B5EF4-FFF2-40B4-BE49-F238E27FC236}">
                <a16:creationId xmlns:a16="http://schemas.microsoft.com/office/drawing/2014/main" xmlns="" id="{2B2B38A7-1E90-DD47-A64D-948E5F2F8B1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430789" y="3688250"/>
            <a:ext cx="4701318" cy="7367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99" name="Rectángulo">
            <a:extLst>
              <a:ext uri="{FF2B5EF4-FFF2-40B4-BE49-F238E27FC236}">
                <a16:creationId xmlns:a16="http://schemas.microsoft.com/office/drawing/2014/main" xmlns="" id="{FD1CB431-1820-2345-98EC-38025759AF2F}"/>
              </a:ext>
            </a:extLst>
          </p:cNvPr>
          <p:cNvSpPr/>
          <p:nvPr userDrawn="1"/>
        </p:nvSpPr>
        <p:spPr>
          <a:xfrm>
            <a:off x="449322" y="3688254"/>
            <a:ext cx="1513013" cy="528415"/>
          </a:xfrm>
          <a:prstGeom prst="rect">
            <a:avLst/>
          </a:prstGeom>
          <a:solidFill>
            <a:schemeClr val="accent3"/>
          </a:solidFill>
          <a:ln w="12700">
            <a:miter lim="400000"/>
          </a:ln>
        </p:spPr>
        <p:txBody>
          <a:bodyPr lIns="25372" tIns="25372" rIns="25372" bIns="25372" anchor="ctr"/>
          <a:lstStyle/>
          <a:p>
            <a:pPr algn="ctr" defTabSz="412281"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00" name="Flecha">
            <a:extLst>
              <a:ext uri="{FF2B5EF4-FFF2-40B4-BE49-F238E27FC236}">
                <a16:creationId xmlns:a16="http://schemas.microsoft.com/office/drawing/2014/main" xmlns="" id="{51D30188-BA2F-E041-9E44-E9C991347A3B}"/>
              </a:ext>
            </a:extLst>
          </p:cNvPr>
          <p:cNvSpPr/>
          <p:nvPr userDrawn="1"/>
        </p:nvSpPr>
        <p:spPr>
          <a:xfrm>
            <a:off x="2230203" y="3688254"/>
            <a:ext cx="1820683" cy="528415"/>
          </a:xfrm>
          <a:prstGeom prst="rightArrow">
            <a:avLst>
              <a:gd name="adj1" fmla="val 97321"/>
              <a:gd name="adj2" fmla="val 24371"/>
            </a:avLst>
          </a:prstGeom>
          <a:solidFill>
            <a:schemeClr val="accent4"/>
          </a:solidFill>
          <a:ln w="12700">
            <a:miter lim="400000"/>
          </a:ln>
        </p:spPr>
        <p:txBody>
          <a:bodyPr lIns="0" tIns="0" rIns="0" bIns="0"/>
          <a:lstStyle/>
          <a:p>
            <a:pPr algn="ctr" defTabSz="228339">
              <a:defRPr sz="2400">
                <a:solidFill>
                  <a:srgbClr val="595959"/>
                </a:solidFill>
                <a:latin typeface="Barlow Regular"/>
                <a:ea typeface="Barlow Regular"/>
                <a:cs typeface="Barlow Regular"/>
                <a:sym typeface="Barlow Regular"/>
              </a:defRPr>
            </a:pPr>
            <a:endParaRPr sz="1200" dirty="0">
              <a:solidFill>
                <a:srgbClr val="FFFFFF"/>
              </a:solidFill>
              <a:ea typeface="Barlow Regular"/>
              <a:cs typeface="Arial" panose="020B0604020202020204" pitchFamily="34" charset="0"/>
              <a:sym typeface="Barlow Regular"/>
            </a:endParaRPr>
          </a:p>
        </p:txBody>
      </p:sp>
      <p:sp>
        <p:nvSpPr>
          <p:cNvPr id="101" name="Marcador de texto 7">
            <a:extLst>
              <a:ext uri="{FF2B5EF4-FFF2-40B4-BE49-F238E27FC236}">
                <a16:creationId xmlns:a16="http://schemas.microsoft.com/office/drawing/2014/main" xmlns="" id="{BE0B497D-B44F-C24C-8E29-BD07AF0EDD0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2230204" y="3248791"/>
            <a:ext cx="2037553" cy="2189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accent4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102" name="Conector recto 101">
            <a:extLst>
              <a:ext uri="{FF2B5EF4-FFF2-40B4-BE49-F238E27FC236}">
                <a16:creationId xmlns:a16="http://schemas.microsoft.com/office/drawing/2014/main" xmlns="" id="{FA62AC02-A4CB-9E42-9966-0638ADE12337}"/>
              </a:ext>
            </a:extLst>
          </p:cNvPr>
          <p:cNvCxnSpPr>
            <a:cxnSpLocks/>
          </p:cNvCxnSpPr>
          <p:nvPr userDrawn="1"/>
        </p:nvCxnSpPr>
        <p:spPr>
          <a:xfrm>
            <a:off x="2230202" y="3546425"/>
            <a:ext cx="2037551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3" name="Marcador de texto 7">
            <a:extLst>
              <a:ext uri="{FF2B5EF4-FFF2-40B4-BE49-F238E27FC236}">
                <a16:creationId xmlns:a16="http://schemas.microsoft.com/office/drawing/2014/main" xmlns="" id="{1BD4B4BB-F73A-8C47-9D90-CEC7DD3B41B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430793" y="3248791"/>
            <a:ext cx="3046253" cy="2189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accent4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104" name="Conector recto 103">
            <a:extLst>
              <a:ext uri="{FF2B5EF4-FFF2-40B4-BE49-F238E27FC236}">
                <a16:creationId xmlns:a16="http://schemas.microsoft.com/office/drawing/2014/main" xmlns="" id="{0C6E77F8-65E8-494D-8105-C0A16B41DC03}"/>
              </a:ext>
            </a:extLst>
          </p:cNvPr>
          <p:cNvCxnSpPr>
            <a:cxnSpLocks/>
          </p:cNvCxnSpPr>
          <p:nvPr userDrawn="1"/>
        </p:nvCxnSpPr>
        <p:spPr>
          <a:xfrm>
            <a:off x="4430789" y="3546425"/>
            <a:ext cx="4701318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5" name="Marcador de texto 7">
            <a:extLst>
              <a:ext uri="{FF2B5EF4-FFF2-40B4-BE49-F238E27FC236}">
                <a16:creationId xmlns:a16="http://schemas.microsoft.com/office/drawing/2014/main" xmlns="" id="{15E1D5D8-969C-0C47-A83E-5B4A68DB305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383392" y="3688252"/>
            <a:ext cx="2354941" cy="7379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106" name="Marcador de texto 7">
            <a:extLst>
              <a:ext uri="{FF2B5EF4-FFF2-40B4-BE49-F238E27FC236}">
                <a16:creationId xmlns:a16="http://schemas.microsoft.com/office/drawing/2014/main" xmlns="" id="{5DC833E3-6DB7-4D44-8269-BEE4CDA6C7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383392" y="3248791"/>
            <a:ext cx="2326952" cy="2189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107" name="Conector recto 106">
            <a:extLst>
              <a:ext uri="{FF2B5EF4-FFF2-40B4-BE49-F238E27FC236}">
                <a16:creationId xmlns:a16="http://schemas.microsoft.com/office/drawing/2014/main" xmlns="" id="{3DD43F7B-D2ED-9042-8179-8A0FE56FD61C}"/>
              </a:ext>
            </a:extLst>
          </p:cNvPr>
          <p:cNvCxnSpPr>
            <a:cxnSpLocks/>
          </p:cNvCxnSpPr>
          <p:nvPr userDrawn="1"/>
        </p:nvCxnSpPr>
        <p:spPr>
          <a:xfrm>
            <a:off x="9383392" y="3546425"/>
            <a:ext cx="2354941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9" name="Marcador de texto 7">
            <a:extLst>
              <a:ext uri="{FF2B5EF4-FFF2-40B4-BE49-F238E27FC236}">
                <a16:creationId xmlns:a16="http://schemas.microsoft.com/office/drawing/2014/main" xmlns="" id="{B64B1C12-DD64-304A-8558-8A688B339723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297447" y="3712568"/>
            <a:ext cx="1602376" cy="44483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110" name="Marcador de texto 7">
            <a:extLst>
              <a:ext uri="{FF2B5EF4-FFF2-40B4-BE49-F238E27FC236}">
                <a16:creationId xmlns:a16="http://schemas.microsoft.com/office/drawing/2014/main" xmlns="" id="{D674B401-78C8-414C-A501-6F69894D59F1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29181" y="3712562"/>
            <a:ext cx="1308175" cy="47023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111" name="Marcador de texto 7">
            <a:extLst>
              <a:ext uri="{FF2B5EF4-FFF2-40B4-BE49-F238E27FC236}">
                <a16:creationId xmlns:a16="http://schemas.microsoft.com/office/drawing/2014/main" xmlns="" id="{61CDEF0A-D72C-2648-9BF7-D2A388DD586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430789" y="5452834"/>
            <a:ext cx="4701318" cy="7367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112" name="Rectángulo">
            <a:extLst>
              <a:ext uri="{FF2B5EF4-FFF2-40B4-BE49-F238E27FC236}">
                <a16:creationId xmlns:a16="http://schemas.microsoft.com/office/drawing/2014/main" xmlns="" id="{82768CE9-E1C4-3D4C-81F7-4374324630CD}"/>
              </a:ext>
            </a:extLst>
          </p:cNvPr>
          <p:cNvSpPr/>
          <p:nvPr userDrawn="1"/>
        </p:nvSpPr>
        <p:spPr>
          <a:xfrm>
            <a:off x="449322" y="5452843"/>
            <a:ext cx="1513013" cy="528415"/>
          </a:xfrm>
          <a:prstGeom prst="rect">
            <a:avLst/>
          </a:prstGeom>
          <a:solidFill>
            <a:schemeClr val="accent3"/>
          </a:solidFill>
          <a:ln w="12700">
            <a:miter lim="400000"/>
          </a:ln>
        </p:spPr>
        <p:txBody>
          <a:bodyPr lIns="25372" tIns="25372" rIns="25372" bIns="25372" anchor="ctr"/>
          <a:lstStyle/>
          <a:p>
            <a:pPr algn="ctr" defTabSz="412281"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13" name="Flecha">
            <a:extLst>
              <a:ext uri="{FF2B5EF4-FFF2-40B4-BE49-F238E27FC236}">
                <a16:creationId xmlns:a16="http://schemas.microsoft.com/office/drawing/2014/main" xmlns="" id="{11B2D5B3-C3A5-5A46-B783-E9DB7956E3FC}"/>
              </a:ext>
            </a:extLst>
          </p:cNvPr>
          <p:cNvSpPr/>
          <p:nvPr userDrawn="1"/>
        </p:nvSpPr>
        <p:spPr>
          <a:xfrm>
            <a:off x="2230203" y="5452843"/>
            <a:ext cx="1820683" cy="528415"/>
          </a:xfrm>
          <a:prstGeom prst="rightArrow">
            <a:avLst>
              <a:gd name="adj1" fmla="val 97321"/>
              <a:gd name="adj2" fmla="val 24371"/>
            </a:avLst>
          </a:prstGeom>
          <a:solidFill>
            <a:schemeClr val="accent1"/>
          </a:solidFill>
          <a:ln w="12700">
            <a:miter lim="400000"/>
          </a:ln>
        </p:spPr>
        <p:txBody>
          <a:bodyPr lIns="0" tIns="0" rIns="0" bIns="0"/>
          <a:lstStyle/>
          <a:p>
            <a:pPr algn="ctr" defTabSz="228339">
              <a:defRPr sz="2400">
                <a:solidFill>
                  <a:srgbClr val="595959"/>
                </a:solidFill>
                <a:latin typeface="Barlow Regular"/>
                <a:ea typeface="Barlow Regular"/>
                <a:cs typeface="Barlow Regular"/>
                <a:sym typeface="Barlow Regular"/>
              </a:defRPr>
            </a:pPr>
            <a:endParaRPr sz="1200" dirty="0">
              <a:solidFill>
                <a:srgbClr val="FFFFFF"/>
              </a:solidFill>
              <a:ea typeface="Barlow Regular"/>
              <a:cs typeface="Arial" panose="020B0604020202020204" pitchFamily="34" charset="0"/>
              <a:sym typeface="Barlow Regular"/>
            </a:endParaRPr>
          </a:p>
        </p:txBody>
      </p:sp>
      <p:sp>
        <p:nvSpPr>
          <p:cNvPr id="114" name="Marcador de texto 7">
            <a:extLst>
              <a:ext uri="{FF2B5EF4-FFF2-40B4-BE49-F238E27FC236}">
                <a16:creationId xmlns:a16="http://schemas.microsoft.com/office/drawing/2014/main" xmlns="" id="{130CF308-4F12-CF40-8431-48ED26F5E46C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2230204" y="5013374"/>
            <a:ext cx="2037553" cy="2189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accent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115" name="Conector recto 114">
            <a:extLst>
              <a:ext uri="{FF2B5EF4-FFF2-40B4-BE49-F238E27FC236}">
                <a16:creationId xmlns:a16="http://schemas.microsoft.com/office/drawing/2014/main" xmlns="" id="{0312E910-2788-3D48-B437-F32CE1E92226}"/>
              </a:ext>
            </a:extLst>
          </p:cNvPr>
          <p:cNvCxnSpPr>
            <a:cxnSpLocks/>
          </p:cNvCxnSpPr>
          <p:nvPr userDrawn="1"/>
        </p:nvCxnSpPr>
        <p:spPr>
          <a:xfrm>
            <a:off x="2230207" y="5311009"/>
            <a:ext cx="2037865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16" name="Marcador de texto 7">
            <a:extLst>
              <a:ext uri="{FF2B5EF4-FFF2-40B4-BE49-F238E27FC236}">
                <a16:creationId xmlns:a16="http://schemas.microsoft.com/office/drawing/2014/main" xmlns="" id="{F003F3C9-833A-0E40-989F-A1E89E66731F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456853" y="5013374"/>
            <a:ext cx="3046253" cy="2189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accent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117" name="Conector recto 116">
            <a:extLst>
              <a:ext uri="{FF2B5EF4-FFF2-40B4-BE49-F238E27FC236}">
                <a16:creationId xmlns:a16="http://schemas.microsoft.com/office/drawing/2014/main" xmlns="" id="{D297A162-44E6-444F-B15F-B309FAC6EC0E}"/>
              </a:ext>
            </a:extLst>
          </p:cNvPr>
          <p:cNvCxnSpPr>
            <a:cxnSpLocks/>
          </p:cNvCxnSpPr>
          <p:nvPr userDrawn="1"/>
        </p:nvCxnSpPr>
        <p:spPr>
          <a:xfrm>
            <a:off x="4444973" y="5311009"/>
            <a:ext cx="4701318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18" name="Marcador de texto 7">
            <a:extLst>
              <a:ext uri="{FF2B5EF4-FFF2-40B4-BE49-F238E27FC236}">
                <a16:creationId xmlns:a16="http://schemas.microsoft.com/office/drawing/2014/main" xmlns="" id="{B40D342A-9934-D247-8506-3C04BA2012CC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383388" y="5452841"/>
            <a:ext cx="2354707" cy="7379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119" name="Marcador de texto 7">
            <a:extLst>
              <a:ext uri="{FF2B5EF4-FFF2-40B4-BE49-F238E27FC236}">
                <a16:creationId xmlns:a16="http://schemas.microsoft.com/office/drawing/2014/main" xmlns="" id="{DDA9AE97-84A3-694E-9294-BAFBA6FBC7E4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409454" y="5013374"/>
            <a:ext cx="2326952" cy="2189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120" name="Conector recto 119">
            <a:extLst>
              <a:ext uri="{FF2B5EF4-FFF2-40B4-BE49-F238E27FC236}">
                <a16:creationId xmlns:a16="http://schemas.microsoft.com/office/drawing/2014/main" xmlns="" id="{52E5032A-A04E-AF48-A2B4-4FCA1E59EB6C}"/>
              </a:ext>
            </a:extLst>
          </p:cNvPr>
          <p:cNvCxnSpPr>
            <a:cxnSpLocks/>
          </p:cNvCxnSpPr>
          <p:nvPr userDrawn="1"/>
        </p:nvCxnSpPr>
        <p:spPr>
          <a:xfrm>
            <a:off x="9409453" y="5311009"/>
            <a:ext cx="2354941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22" name="Marcador de texto 7">
            <a:extLst>
              <a:ext uri="{FF2B5EF4-FFF2-40B4-BE49-F238E27FC236}">
                <a16:creationId xmlns:a16="http://schemas.microsoft.com/office/drawing/2014/main" xmlns="" id="{EE07E9DC-AD79-9F43-9AA5-4C2F72B701EE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2297447" y="5477146"/>
            <a:ext cx="1602376" cy="47023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123" name="Marcador de texto 7">
            <a:extLst>
              <a:ext uri="{FF2B5EF4-FFF2-40B4-BE49-F238E27FC236}">
                <a16:creationId xmlns:a16="http://schemas.microsoft.com/office/drawing/2014/main" xmlns="" id="{9E332173-B33D-EE42-B963-112D06843FB2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529181" y="5477146"/>
            <a:ext cx="1308175" cy="47023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47" name="Marcador de texto 4">
            <a:extLst>
              <a:ext uri="{FF2B5EF4-FFF2-40B4-BE49-F238E27FC236}">
                <a16:creationId xmlns:a16="http://schemas.microsoft.com/office/drawing/2014/main" xmlns="" id="{5A23BCE0-B3C8-6349-8275-A9F9C2986204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457264" y="6475945"/>
            <a:ext cx="8377595" cy="371826"/>
          </a:xfrm>
          <a:prstGeom prst="rect">
            <a:avLst/>
          </a:prstGeom>
        </p:spPr>
        <p:txBody>
          <a:bodyPr/>
          <a:lstStyle>
            <a:lvl1pPr marL="228339" indent="-228339">
              <a:lnSpc>
                <a:spcPct val="100000"/>
              </a:lnSpc>
              <a:spcBef>
                <a:spcPts val="100"/>
              </a:spcBef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900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Texto primera fuente Arial 9</a:t>
            </a:r>
          </a:p>
          <a:p>
            <a:pPr lvl="0"/>
            <a:r>
              <a:rPr lang="es-CL" dirty="0"/>
              <a:t>Texto sfuente Arial 9</a:t>
            </a:r>
          </a:p>
        </p:txBody>
      </p:sp>
      <p:sp>
        <p:nvSpPr>
          <p:cNvPr id="48" name="Marcador de número de diapositiva 1">
            <a:extLst>
              <a:ext uri="{FF2B5EF4-FFF2-40B4-BE49-F238E27FC236}">
                <a16:creationId xmlns:a16="http://schemas.microsoft.com/office/drawing/2014/main" xmlns="" id="{4D3AD217-54D1-EB46-9D9E-E3862C7770C2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8A8A8A"/>
                </a:solidFill>
              </a:rPr>
              <a:pPr/>
              <a:t>‹Nº›</a:t>
            </a:fld>
            <a:endParaRPr lang="es-CL" dirty="0">
              <a:solidFill>
                <a:srgbClr val="8A8A8A"/>
              </a:solidFill>
            </a:endParaRPr>
          </a:p>
        </p:txBody>
      </p:sp>
      <p:sp>
        <p:nvSpPr>
          <p:cNvPr id="44" name="Marcador de texto 7">
            <a:extLst>
              <a:ext uri="{FF2B5EF4-FFF2-40B4-BE49-F238E27FC236}">
                <a16:creationId xmlns:a16="http://schemas.microsoft.com/office/drawing/2014/main" xmlns="" id="{1EBA4C2B-415F-F647-8DDB-B89719D2FE4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51" name="Conector recto 50">
            <a:extLst>
              <a:ext uri="{FF2B5EF4-FFF2-40B4-BE49-F238E27FC236}">
                <a16:creationId xmlns:a16="http://schemas.microsoft.com/office/drawing/2014/main" xmlns="" id="{39D63CAF-5D43-CF41-B5C6-DB3590DD9B61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52" name="Marcador de texto 7">
            <a:extLst>
              <a:ext uri="{FF2B5EF4-FFF2-40B4-BE49-F238E27FC236}">
                <a16:creationId xmlns:a16="http://schemas.microsoft.com/office/drawing/2014/main" xmlns="" id="{973FAB7E-A456-F442-8185-B05E394C55C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39647199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13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48478C3A-C42D-5E47-A331-FDE9C71C09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xmlns="" id="{0168E356-9573-F142-B06A-2A0F6922273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310" y="1825625"/>
            <a:ext cx="5182275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xmlns="" id="{3F42313E-41F7-C642-906F-CC0DD60E049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3008" y="1825625"/>
            <a:ext cx="5182275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xmlns="" id="{E7765427-D403-944B-98D3-7ADDF0B851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DB3C94-6D56-164E-BA24-E6E2F14D2128}" type="datetimeFigureOut">
              <a:rPr lang="es-CL" smtClean="0"/>
              <a:t>04-02-2025</a:t>
            </a:fld>
            <a:endParaRPr lang="es-CL" dirty="0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xmlns="" id="{B4CD0E6C-F286-3D4D-91C9-D0F379E202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xmlns="" id="{1EFCC6C5-06B8-4748-B4D2-66D5417707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83AE60-A720-A443-B80B-BB7E1A5C8997}" type="slidenum">
              <a:rPr lang="es-CL" smtClean="0"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332882308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arta Gantt Think-C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7" name="Marcador de contenido 6">
            <a:extLst>
              <a:ext uri="{FF2B5EF4-FFF2-40B4-BE49-F238E27FC236}">
                <a16:creationId xmlns:a16="http://schemas.microsoft.com/office/drawing/2014/main" xmlns="" id="{C1B8FB80-D582-7D41-94DF-9DC79634318C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49325" y="1620839"/>
            <a:ext cx="11287080" cy="473036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60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455" indent="0">
              <a:buFontTx/>
              <a:buNone/>
              <a:defRPr sz="130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08908" indent="0">
              <a:buFontTx/>
              <a:buNone/>
              <a:defRPr sz="130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13363" indent="0">
              <a:buFontTx/>
              <a:buNone/>
              <a:defRPr sz="130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17816" indent="0">
              <a:buFontTx/>
              <a:buNone/>
              <a:defRPr sz="130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Insertar gráfico o carta </a:t>
            </a:r>
            <a:r>
              <a:rPr lang="es-ES" dirty="0" err="1"/>
              <a:t>gantt</a:t>
            </a:r>
            <a:endParaRPr lang="es-CL" dirty="0"/>
          </a:p>
        </p:txBody>
      </p:sp>
      <p:sp>
        <p:nvSpPr>
          <p:cNvPr id="10" name="Marcador de número de diapositiva 1">
            <a:extLst>
              <a:ext uri="{FF2B5EF4-FFF2-40B4-BE49-F238E27FC236}">
                <a16:creationId xmlns:a16="http://schemas.microsoft.com/office/drawing/2014/main" xmlns="" id="{A92E6723-6A59-0246-B1F5-4E38B0A329F9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8A8A8A"/>
                </a:solidFill>
              </a:rPr>
              <a:pPr/>
              <a:t>‹Nº›</a:t>
            </a:fld>
            <a:endParaRPr lang="es-CL" dirty="0">
              <a:solidFill>
                <a:srgbClr val="8A8A8A"/>
              </a:solidFill>
            </a:endParaRPr>
          </a:p>
        </p:txBody>
      </p:sp>
      <p:sp>
        <p:nvSpPr>
          <p:cNvPr id="9" name="Marcador de texto 7">
            <a:extLst>
              <a:ext uri="{FF2B5EF4-FFF2-40B4-BE49-F238E27FC236}">
                <a16:creationId xmlns:a16="http://schemas.microsoft.com/office/drawing/2014/main" xmlns="" id="{F8D15FBA-E309-7841-A774-A131E4439BA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1" name="Conector recto 10">
            <a:extLst>
              <a:ext uri="{FF2B5EF4-FFF2-40B4-BE49-F238E27FC236}">
                <a16:creationId xmlns:a16="http://schemas.microsoft.com/office/drawing/2014/main" xmlns="" id="{9A186DD1-24AC-5146-808E-C8D243C07626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2" name="Marcador de texto 7">
            <a:extLst>
              <a:ext uri="{FF2B5EF4-FFF2-40B4-BE49-F238E27FC236}">
                <a16:creationId xmlns:a16="http://schemas.microsoft.com/office/drawing/2014/main" xmlns="" id="{548673D1-134B-6041-B11F-D6B0AB5EF94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81972647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46" userDrawn="1">
          <p15:clr>
            <a:srgbClr val="FBAE40"/>
          </p15:clr>
        </p15:guide>
        <p15:guide id="2" pos="213" userDrawn="1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ámina enumeració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43" name="Marcador de texto 7">
            <a:extLst>
              <a:ext uri="{FF2B5EF4-FFF2-40B4-BE49-F238E27FC236}">
                <a16:creationId xmlns:a16="http://schemas.microsoft.com/office/drawing/2014/main" xmlns="" id="{CF985600-E7D8-9E44-82E9-F97AD68006A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83854" y="2023281"/>
            <a:ext cx="6997101" cy="7587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44" name="Marcador de texto 7">
            <a:extLst>
              <a:ext uri="{FF2B5EF4-FFF2-40B4-BE49-F238E27FC236}">
                <a16:creationId xmlns:a16="http://schemas.microsoft.com/office/drawing/2014/main" xmlns="" id="{06EBF3F5-82CF-3447-9CBB-BB0F933A65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07216" y="2196212"/>
            <a:ext cx="1257464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90" name="Conector recto 89">
            <a:extLst>
              <a:ext uri="{FF2B5EF4-FFF2-40B4-BE49-F238E27FC236}">
                <a16:creationId xmlns:a16="http://schemas.microsoft.com/office/drawing/2014/main" xmlns="" id="{918C4B25-4DE6-4C44-8031-9999A5B2D42B}"/>
              </a:ext>
            </a:extLst>
          </p:cNvPr>
          <p:cNvCxnSpPr/>
          <p:nvPr userDrawn="1"/>
        </p:nvCxnSpPr>
        <p:spPr>
          <a:xfrm>
            <a:off x="3778241" y="1978138"/>
            <a:ext cx="0" cy="849066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94" name="Marcador de texto 7">
            <a:extLst>
              <a:ext uri="{FF2B5EF4-FFF2-40B4-BE49-F238E27FC236}">
                <a16:creationId xmlns:a16="http://schemas.microsoft.com/office/drawing/2014/main" xmlns="" id="{E88A7927-DC3B-3544-BD64-28D716E9EF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83854" y="3114899"/>
            <a:ext cx="6997101" cy="7587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95" name="Marcador de texto 7">
            <a:extLst>
              <a:ext uri="{FF2B5EF4-FFF2-40B4-BE49-F238E27FC236}">
                <a16:creationId xmlns:a16="http://schemas.microsoft.com/office/drawing/2014/main" xmlns="" id="{F1AE937D-E749-AB49-A58B-96D93517F82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107216" y="3287829"/>
            <a:ext cx="1257464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96" name="Conector recto 95">
            <a:extLst>
              <a:ext uri="{FF2B5EF4-FFF2-40B4-BE49-F238E27FC236}">
                <a16:creationId xmlns:a16="http://schemas.microsoft.com/office/drawing/2014/main" xmlns="" id="{82B8DDEA-E931-994F-86BA-42BAB21F35DB}"/>
              </a:ext>
            </a:extLst>
          </p:cNvPr>
          <p:cNvCxnSpPr/>
          <p:nvPr userDrawn="1"/>
        </p:nvCxnSpPr>
        <p:spPr>
          <a:xfrm>
            <a:off x="3778241" y="3069756"/>
            <a:ext cx="0" cy="849066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0" name="Marcador de texto 7">
            <a:extLst>
              <a:ext uri="{FF2B5EF4-FFF2-40B4-BE49-F238E27FC236}">
                <a16:creationId xmlns:a16="http://schemas.microsoft.com/office/drawing/2014/main" xmlns="" id="{32B82F2E-C60E-4F49-9E04-817DE4A46A4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83854" y="4206516"/>
            <a:ext cx="6997101" cy="7587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101" name="Marcador de texto 7">
            <a:extLst>
              <a:ext uri="{FF2B5EF4-FFF2-40B4-BE49-F238E27FC236}">
                <a16:creationId xmlns:a16="http://schemas.microsoft.com/office/drawing/2014/main" xmlns="" id="{53ACC097-9A1C-3241-80E5-4FA2DBCD5E9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107216" y="4379447"/>
            <a:ext cx="1257464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102" name="Conector recto 101">
            <a:extLst>
              <a:ext uri="{FF2B5EF4-FFF2-40B4-BE49-F238E27FC236}">
                <a16:creationId xmlns:a16="http://schemas.microsoft.com/office/drawing/2014/main" xmlns="" id="{25F53A69-89D3-734D-9B06-56318A2B5E6E}"/>
              </a:ext>
            </a:extLst>
          </p:cNvPr>
          <p:cNvCxnSpPr/>
          <p:nvPr userDrawn="1"/>
        </p:nvCxnSpPr>
        <p:spPr>
          <a:xfrm>
            <a:off x="3778241" y="4161373"/>
            <a:ext cx="0" cy="849066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6" name="Marcador de texto 7">
            <a:extLst>
              <a:ext uri="{FF2B5EF4-FFF2-40B4-BE49-F238E27FC236}">
                <a16:creationId xmlns:a16="http://schemas.microsoft.com/office/drawing/2014/main" xmlns="" id="{E5228B0D-DF98-794A-B213-566DD6D0005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183854" y="5298133"/>
            <a:ext cx="6997101" cy="7587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107" name="Marcador de texto 7">
            <a:extLst>
              <a:ext uri="{FF2B5EF4-FFF2-40B4-BE49-F238E27FC236}">
                <a16:creationId xmlns:a16="http://schemas.microsoft.com/office/drawing/2014/main" xmlns="" id="{12AA98F3-ECF0-0846-98CE-48B524FC174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107216" y="5471064"/>
            <a:ext cx="1257464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108" name="Conector recto 107">
            <a:extLst>
              <a:ext uri="{FF2B5EF4-FFF2-40B4-BE49-F238E27FC236}">
                <a16:creationId xmlns:a16="http://schemas.microsoft.com/office/drawing/2014/main" xmlns="" id="{A420EF3B-A9EA-F74A-AFB4-B01AC7830323}"/>
              </a:ext>
            </a:extLst>
          </p:cNvPr>
          <p:cNvCxnSpPr/>
          <p:nvPr userDrawn="1"/>
        </p:nvCxnSpPr>
        <p:spPr>
          <a:xfrm>
            <a:off x="3778241" y="5252992"/>
            <a:ext cx="0" cy="849066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46" name="Marcador de posición de imagen 3">
            <a:extLst>
              <a:ext uri="{FF2B5EF4-FFF2-40B4-BE49-F238E27FC236}">
                <a16:creationId xmlns:a16="http://schemas.microsoft.com/office/drawing/2014/main" xmlns="" id="{5383AF3D-2849-A44D-B460-812DA0F91F39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982766" y="2079524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47" name="Marcador de posición de imagen 3">
            <a:extLst>
              <a:ext uri="{FF2B5EF4-FFF2-40B4-BE49-F238E27FC236}">
                <a16:creationId xmlns:a16="http://schemas.microsoft.com/office/drawing/2014/main" xmlns="" id="{A3E9D49A-7FEB-CA48-A0DA-D7F0AD0B39D2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982766" y="3158310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48" name="Marcador de posición de imagen 3">
            <a:extLst>
              <a:ext uri="{FF2B5EF4-FFF2-40B4-BE49-F238E27FC236}">
                <a16:creationId xmlns:a16="http://schemas.microsoft.com/office/drawing/2014/main" xmlns="" id="{21F56DF0-CFA8-3E4A-A473-7B4F791BB3B2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982766" y="4247371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49" name="Marcador de posición de imagen 3">
            <a:extLst>
              <a:ext uri="{FF2B5EF4-FFF2-40B4-BE49-F238E27FC236}">
                <a16:creationId xmlns:a16="http://schemas.microsoft.com/office/drawing/2014/main" xmlns="" id="{967F9466-8202-8F4B-94E1-63B831183C4E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969975" y="5336432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25" name="Marcador de número de diapositiva 1">
            <a:extLst>
              <a:ext uri="{FF2B5EF4-FFF2-40B4-BE49-F238E27FC236}">
                <a16:creationId xmlns:a16="http://schemas.microsoft.com/office/drawing/2014/main" xmlns="" id="{CAFA77C0-C295-3D4D-88B5-DE00CB583A44}"/>
              </a:ext>
            </a:extLst>
          </p:cNvPr>
          <p:cNvSpPr>
            <a:spLocks noGrp="1"/>
          </p:cNvSpPr>
          <p:nvPr>
            <p:ph type="sldNum" sz="quarter" idx="53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8A8A8A"/>
                </a:solidFill>
              </a:rPr>
              <a:pPr/>
              <a:t>‹Nº›</a:t>
            </a:fld>
            <a:endParaRPr lang="es-CL" dirty="0">
              <a:solidFill>
                <a:srgbClr val="8A8A8A"/>
              </a:solidFill>
            </a:endParaRPr>
          </a:p>
        </p:txBody>
      </p:sp>
      <p:sp>
        <p:nvSpPr>
          <p:cNvPr id="23" name="Marcador de texto 7">
            <a:extLst>
              <a:ext uri="{FF2B5EF4-FFF2-40B4-BE49-F238E27FC236}">
                <a16:creationId xmlns:a16="http://schemas.microsoft.com/office/drawing/2014/main" xmlns="" id="{ABA5F40A-3B8B-424C-BB2D-DB2FE8043FF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27" name="Conector recto 26">
            <a:extLst>
              <a:ext uri="{FF2B5EF4-FFF2-40B4-BE49-F238E27FC236}">
                <a16:creationId xmlns:a16="http://schemas.microsoft.com/office/drawing/2014/main" xmlns="" id="{F00B6F94-336F-6C45-B09A-2B54444109B5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9" name="Marcador de texto 7">
            <a:extLst>
              <a:ext uri="{FF2B5EF4-FFF2-40B4-BE49-F238E27FC236}">
                <a16:creationId xmlns:a16="http://schemas.microsoft.com/office/drawing/2014/main" xmlns="" id="{BB17032C-0F93-3144-A7BD-E7670DF717A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75331822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586" userDrawn="1">
          <p15:clr>
            <a:srgbClr val="FBAE40"/>
          </p15:clr>
        </p15:guide>
        <p15:guide id="2" pos="213" userDrawn="1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ámina enumeración 3 +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43" name="Marcador de texto 7">
            <a:extLst>
              <a:ext uri="{FF2B5EF4-FFF2-40B4-BE49-F238E27FC236}">
                <a16:creationId xmlns:a16="http://schemas.microsoft.com/office/drawing/2014/main" xmlns="" id="{CF985600-E7D8-9E44-82E9-F97AD68006A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05710" y="1667640"/>
            <a:ext cx="3615285" cy="758780"/>
          </a:xfrm>
          <a:prstGeom prst="rect">
            <a:avLst/>
          </a:prstGeom>
        </p:spPr>
        <p:txBody>
          <a:bodyPr/>
          <a:lstStyle>
            <a:lvl1pPr marL="171257" indent="-171257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Wingdings" pitchFamily="2" charset="2"/>
              <a:buChar char="§"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</a:p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44" name="Marcador de texto 7">
            <a:extLst>
              <a:ext uri="{FF2B5EF4-FFF2-40B4-BE49-F238E27FC236}">
                <a16:creationId xmlns:a16="http://schemas.microsoft.com/office/drawing/2014/main" xmlns="" id="{06EBF3F5-82CF-3447-9CBB-BB0F933A65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29068" y="1840571"/>
            <a:ext cx="1257464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90" name="Conector recto 89">
            <a:extLst>
              <a:ext uri="{FF2B5EF4-FFF2-40B4-BE49-F238E27FC236}">
                <a16:creationId xmlns:a16="http://schemas.microsoft.com/office/drawing/2014/main" xmlns="" id="{918C4B25-4DE6-4C44-8031-9999A5B2D42B}"/>
              </a:ext>
            </a:extLst>
          </p:cNvPr>
          <p:cNvCxnSpPr/>
          <p:nvPr userDrawn="1"/>
        </p:nvCxnSpPr>
        <p:spPr>
          <a:xfrm>
            <a:off x="3600092" y="1622497"/>
            <a:ext cx="0" cy="849066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94" name="Marcador de texto 7">
            <a:extLst>
              <a:ext uri="{FF2B5EF4-FFF2-40B4-BE49-F238E27FC236}">
                <a16:creationId xmlns:a16="http://schemas.microsoft.com/office/drawing/2014/main" xmlns="" id="{E88A7927-DC3B-3544-BD64-28D716E9EF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05706" y="2877805"/>
            <a:ext cx="3611270" cy="758780"/>
          </a:xfrm>
          <a:prstGeom prst="rect">
            <a:avLst/>
          </a:prstGeom>
        </p:spPr>
        <p:txBody>
          <a:bodyPr/>
          <a:lstStyle>
            <a:lvl1pPr marL="171257" indent="-171257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Wingdings" pitchFamily="2" charset="2"/>
              <a:buChar char="§"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</a:p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95" name="Marcador de texto 7">
            <a:extLst>
              <a:ext uri="{FF2B5EF4-FFF2-40B4-BE49-F238E27FC236}">
                <a16:creationId xmlns:a16="http://schemas.microsoft.com/office/drawing/2014/main" xmlns="" id="{F1AE937D-E749-AB49-A58B-96D93517F82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29068" y="3050735"/>
            <a:ext cx="1257464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96" name="Conector recto 95">
            <a:extLst>
              <a:ext uri="{FF2B5EF4-FFF2-40B4-BE49-F238E27FC236}">
                <a16:creationId xmlns:a16="http://schemas.microsoft.com/office/drawing/2014/main" xmlns="" id="{82B8DDEA-E931-994F-86BA-42BAB21F35DB}"/>
              </a:ext>
            </a:extLst>
          </p:cNvPr>
          <p:cNvCxnSpPr/>
          <p:nvPr userDrawn="1"/>
        </p:nvCxnSpPr>
        <p:spPr>
          <a:xfrm>
            <a:off x="3600092" y="2836621"/>
            <a:ext cx="0" cy="849066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0" name="Marcador de texto 7">
            <a:extLst>
              <a:ext uri="{FF2B5EF4-FFF2-40B4-BE49-F238E27FC236}">
                <a16:creationId xmlns:a16="http://schemas.microsoft.com/office/drawing/2014/main" xmlns="" id="{32B82F2E-C60E-4F49-9E04-817DE4A46A4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05706" y="4087968"/>
            <a:ext cx="3611270" cy="758780"/>
          </a:xfrm>
          <a:prstGeom prst="rect">
            <a:avLst/>
          </a:prstGeom>
        </p:spPr>
        <p:txBody>
          <a:bodyPr/>
          <a:lstStyle>
            <a:lvl1pPr marL="171257" indent="-171257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Wingdings" pitchFamily="2" charset="2"/>
              <a:buChar char="§"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</a:p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101" name="Marcador de texto 7">
            <a:extLst>
              <a:ext uri="{FF2B5EF4-FFF2-40B4-BE49-F238E27FC236}">
                <a16:creationId xmlns:a16="http://schemas.microsoft.com/office/drawing/2014/main" xmlns="" id="{53ACC097-9A1C-3241-80E5-4FA2DBCD5E9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929068" y="4260899"/>
            <a:ext cx="1257464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102" name="Conector recto 101">
            <a:extLst>
              <a:ext uri="{FF2B5EF4-FFF2-40B4-BE49-F238E27FC236}">
                <a16:creationId xmlns:a16="http://schemas.microsoft.com/office/drawing/2014/main" xmlns="" id="{25F53A69-89D3-734D-9B06-56318A2B5E6E}"/>
              </a:ext>
            </a:extLst>
          </p:cNvPr>
          <p:cNvCxnSpPr/>
          <p:nvPr userDrawn="1"/>
        </p:nvCxnSpPr>
        <p:spPr>
          <a:xfrm>
            <a:off x="3600092" y="4050743"/>
            <a:ext cx="0" cy="849066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6" name="Marcador de texto 7">
            <a:extLst>
              <a:ext uri="{FF2B5EF4-FFF2-40B4-BE49-F238E27FC236}">
                <a16:creationId xmlns:a16="http://schemas.microsoft.com/office/drawing/2014/main" xmlns="" id="{E5228B0D-DF98-794A-B213-566DD6D0005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05710" y="5298133"/>
            <a:ext cx="3615281" cy="758780"/>
          </a:xfrm>
          <a:prstGeom prst="rect">
            <a:avLst/>
          </a:prstGeom>
        </p:spPr>
        <p:txBody>
          <a:bodyPr/>
          <a:lstStyle>
            <a:lvl1pPr marL="171257" indent="-171257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Wingdings" pitchFamily="2" charset="2"/>
              <a:buChar char="§"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</a:p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107" name="Marcador de texto 7">
            <a:extLst>
              <a:ext uri="{FF2B5EF4-FFF2-40B4-BE49-F238E27FC236}">
                <a16:creationId xmlns:a16="http://schemas.microsoft.com/office/drawing/2014/main" xmlns="" id="{12AA98F3-ECF0-0846-98CE-48B524FC174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929068" y="5471064"/>
            <a:ext cx="1257464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108" name="Conector recto 107">
            <a:extLst>
              <a:ext uri="{FF2B5EF4-FFF2-40B4-BE49-F238E27FC236}">
                <a16:creationId xmlns:a16="http://schemas.microsoft.com/office/drawing/2014/main" xmlns="" id="{A420EF3B-A9EA-F74A-AFB4-B01AC7830323}"/>
              </a:ext>
            </a:extLst>
          </p:cNvPr>
          <p:cNvCxnSpPr/>
          <p:nvPr userDrawn="1"/>
        </p:nvCxnSpPr>
        <p:spPr>
          <a:xfrm>
            <a:off x="3600092" y="5264867"/>
            <a:ext cx="0" cy="849066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6" name="Marcador de posición de imagen 2">
            <a:extLst>
              <a:ext uri="{FF2B5EF4-FFF2-40B4-BE49-F238E27FC236}">
                <a16:creationId xmlns:a16="http://schemas.microsoft.com/office/drawing/2014/main" xmlns="" id="{8FCD531C-778A-2E4A-9ABA-A34D4648680B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8405323" y="1667640"/>
            <a:ext cx="3323864" cy="2127802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1200">
                <a:solidFill>
                  <a:schemeClr val="accent3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39" name="Marcador de posición de imagen 2">
            <a:extLst>
              <a:ext uri="{FF2B5EF4-FFF2-40B4-BE49-F238E27FC236}">
                <a16:creationId xmlns:a16="http://schemas.microsoft.com/office/drawing/2014/main" xmlns="" id="{E1719074-B64D-B840-B12F-779CE3A91C3A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405323" y="3930697"/>
            <a:ext cx="3323864" cy="2127802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1200">
                <a:solidFill>
                  <a:schemeClr val="accent3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45" name="Marcador de posición de imagen 3">
            <a:extLst>
              <a:ext uri="{FF2B5EF4-FFF2-40B4-BE49-F238E27FC236}">
                <a16:creationId xmlns:a16="http://schemas.microsoft.com/office/drawing/2014/main" xmlns="" id="{BF352FCF-2840-F641-B261-0E6B39E92845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804618" y="1723883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49" name="Marcador de posición de imagen 3">
            <a:extLst>
              <a:ext uri="{FF2B5EF4-FFF2-40B4-BE49-F238E27FC236}">
                <a16:creationId xmlns:a16="http://schemas.microsoft.com/office/drawing/2014/main" xmlns="" id="{FC5D998E-8878-364C-B535-4672C2DA176D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804618" y="2931491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50" name="Marcador de posición de imagen 3">
            <a:extLst>
              <a:ext uri="{FF2B5EF4-FFF2-40B4-BE49-F238E27FC236}">
                <a16:creationId xmlns:a16="http://schemas.microsoft.com/office/drawing/2014/main" xmlns="" id="{7BE1B078-7F8B-5649-8CC2-046FD74D82BE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804618" y="4139099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51" name="Marcador de posición de imagen 3">
            <a:extLst>
              <a:ext uri="{FF2B5EF4-FFF2-40B4-BE49-F238E27FC236}">
                <a16:creationId xmlns:a16="http://schemas.microsoft.com/office/drawing/2014/main" xmlns="" id="{7C49BCC0-4D4D-EB4A-8268-F60F518F5523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804618" y="5346707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27" name="Marcador de número de diapositiva 1">
            <a:extLst>
              <a:ext uri="{FF2B5EF4-FFF2-40B4-BE49-F238E27FC236}">
                <a16:creationId xmlns:a16="http://schemas.microsoft.com/office/drawing/2014/main" xmlns="" id="{16214E9B-558A-2D4A-9C33-FF08516D28F6}"/>
              </a:ext>
            </a:extLst>
          </p:cNvPr>
          <p:cNvSpPr>
            <a:spLocks noGrp="1"/>
          </p:cNvSpPr>
          <p:nvPr>
            <p:ph type="sldNum" sz="quarter" idx="53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8A8A8A"/>
                </a:solidFill>
              </a:rPr>
              <a:pPr/>
              <a:t>‹Nº›</a:t>
            </a:fld>
            <a:endParaRPr lang="es-CL" dirty="0">
              <a:solidFill>
                <a:srgbClr val="8A8A8A"/>
              </a:solidFill>
            </a:endParaRPr>
          </a:p>
        </p:txBody>
      </p:sp>
      <p:sp>
        <p:nvSpPr>
          <p:cNvPr id="25" name="Marcador de texto 7">
            <a:extLst>
              <a:ext uri="{FF2B5EF4-FFF2-40B4-BE49-F238E27FC236}">
                <a16:creationId xmlns:a16="http://schemas.microsoft.com/office/drawing/2014/main" xmlns="" id="{DB616B56-1C98-BE46-90F9-A7ECD693AE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30" name="Conector recto 29">
            <a:extLst>
              <a:ext uri="{FF2B5EF4-FFF2-40B4-BE49-F238E27FC236}">
                <a16:creationId xmlns:a16="http://schemas.microsoft.com/office/drawing/2014/main" xmlns="" id="{8083ABBE-7E08-4446-9B1A-B775BB2E3036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1" name="Marcador de texto 7">
            <a:extLst>
              <a:ext uri="{FF2B5EF4-FFF2-40B4-BE49-F238E27FC236}">
                <a16:creationId xmlns:a16="http://schemas.microsoft.com/office/drawing/2014/main" xmlns="" id="{C48A1F36-466C-1043-87C1-B756E529750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3972974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586" userDrawn="1">
          <p15:clr>
            <a:srgbClr val="FBAE40"/>
          </p15:clr>
        </p15:guide>
        <p15:guide id="2" pos="919" userDrawn="1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ámina solo ícon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44" name="Marcador de texto 7">
            <a:extLst>
              <a:ext uri="{FF2B5EF4-FFF2-40B4-BE49-F238E27FC236}">
                <a16:creationId xmlns:a16="http://schemas.microsoft.com/office/drawing/2014/main" xmlns="" id="{06EBF3F5-82CF-3447-9CBB-BB0F933A65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386" y="2965399"/>
            <a:ext cx="1482446" cy="635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78" name="Marcador de texto 7">
            <a:extLst>
              <a:ext uri="{FF2B5EF4-FFF2-40B4-BE49-F238E27FC236}">
                <a16:creationId xmlns:a16="http://schemas.microsoft.com/office/drawing/2014/main" xmlns="" id="{5FD5CE98-A125-7D47-90B3-6D68BF0AD1F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969294" y="2965399"/>
            <a:ext cx="1482446" cy="635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82" name="Marcador de texto 7">
            <a:extLst>
              <a:ext uri="{FF2B5EF4-FFF2-40B4-BE49-F238E27FC236}">
                <a16:creationId xmlns:a16="http://schemas.microsoft.com/office/drawing/2014/main" xmlns="" id="{BB03827E-9E73-F54D-91ED-F37E18DF6D6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18159" y="2965399"/>
            <a:ext cx="1482446" cy="635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86" name="Marcador de texto 7">
            <a:extLst>
              <a:ext uri="{FF2B5EF4-FFF2-40B4-BE49-F238E27FC236}">
                <a16:creationId xmlns:a16="http://schemas.microsoft.com/office/drawing/2014/main" xmlns="" id="{D3E3EFE6-6F4B-B54D-AF2C-EAD0435E5D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78898" y="2965399"/>
            <a:ext cx="1482446" cy="635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109" name="Marcador de texto 7">
            <a:extLst>
              <a:ext uri="{FF2B5EF4-FFF2-40B4-BE49-F238E27FC236}">
                <a16:creationId xmlns:a16="http://schemas.microsoft.com/office/drawing/2014/main" xmlns="" id="{991112FC-F65D-FA43-B1F6-7F488AE7795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63386" y="5074754"/>
            <a:ext cx="1482446" cy="635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113" name="Marcador de texto 7">
            <a:extLst>
              <a:ext uri="{FF2B5EF4-FFF2-40B4-BE49-F238E27FC236}">
                <a16:creationId xmlns:a16="http://schemas.microsoft.com/office/drawing/2014/main" xmlns="" id="{2595DA74-33F5-8E48-A29B-0384767D566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969294" y="5074754"/>
            <a:ext cx="1482446" cy="635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117" name="Marcador de texto 7">
            <a:extLst>
              <a:ext uri="{FF2B5EF4-FFF2-40B4-BE49-F238E27FC236}">
                <a16:creationId xmlns:a16="http://schemas.microsoft.com/office/drawing/2014/main" xmlns="" id="{B9DD7AC7-E6A2-1A49-8E09-B1BBD971806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18159" y="5074754"/>
            <a:ext cx="1482446" cy="635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121" name="Marcador de texto 7">
            <a:extLst>
              <a:ext uri="{FF2B5EF4-FFF2-40B4-BE49-F238E27FC236}">
                <a16:creationId xmlns:a16="http://schemas.microsoft.com/office/drawing/2014/main" xmlns="" id="{57427875-4083-0746-9C0D-BFCA937A310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278898" y="5074754"/>
            <a:ext cx="1482446" cy="635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54" name="Marcador de posición de imagen 3">
            <a:extLst>
              <a:ext uri="{FF2B5EF4-FFF2-40B4-BE49-F238E27FC236}">
                <a16:creationId xmlns:a16="http://schemas.microsoft.com/office/drawing/2014/main" xmlns="" id="{EE3102D7-7297-9344-91F2-85FF3C368DD3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463387" y="4209286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55" name="Marcador de posición de imagen 3">
            <a:extLst>
              <a:ext uri="{FF2B5EF4-FFF2-40B4-BE49-F238E27FC236}">
                <a16:creationId xmlns:a16="http://schemas.microsoft.com/office/drawing/2014/main" xmlns="" id="{9FBDFC9B-7C8B-DC45-B9F9-55498656D1B0}"/>
              </a:ext>
            </a:extLst>
          </p:cNvPr>
          <p:cNvSpPr>
            <a:spLocks noGrp="1"/>
          </p:cNvSpPr>
          <p:nvPr>
            <p:ph type="pic" sz="quarter" idx="54" hasCustomPrompt="1"/>
          </p:nvPr>
        </p:nvSpPr>
        <p:spPr>
          <a:xfrm>
            <a:off x="3278899" y="4209286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56" name="Marcador de posición de imagen 3">
            <a:extLst>
              <a:ext uri="{FF2B5EF4-FFF2-40B4-BE49-F238E27FC236}">
                <a16:creationId xmlns:a16="http://schemas.microsoft.com/office/drawing/2014/main" xmlns="" id="{559CBD6C-2DC7-224F-B729-9E291911C669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6118155" y="4209286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57" name="Marcador de posición de imagen 3">
            <a:extLst>
              <a:ext uri="{FF2B5EF4-FFF2-40B4-BE49-F238E27FC236}">
                <a16:creationId xmlns:a16="http://schemas.microsoft.com/office/drawing/2014/main" xmlns="" id="{073AEE27-09DF-6543-BB4D-7D5DFB1B4B3D}"/>
              </a:ext>
            </a:extLst>
          </p:cNvPr>
          <p:cNvSpPr>
            <a:spLocks noGrp="1"/>
          </p:cNvSpPr>
          <p:nvPr>
            <p:ph type="pic" sz="quarter" idx="56" hasCustomPrompt="1"/>
          </p:nvPr>
        </p:nvSpPr>
        <p:spPr>
          <a:xfrm>
            <a:off x="8969291" y="4209286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58" name="Marcador de posición de imagen 3">
            <a:extLst>
              <a:ext uri="{FF2B5EF4-FFF2-40B4-BE49-F238E27FC236}">
                <a16:creationId xmlns:a16="http://schemas.microsoft.com/office/drawing/2014/main" xmlns="" id="{70515F09-3022-7248-97FD-AF60E7A637A3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3278899" y="2103084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59" name="Marcador de posición de imagen 3">
            <a:extLst>
              <a:ext uri="{FF2B5EF4-FFF2-40B4-BE49-F238E27FC236}">
                <a16:creationId xmlns:a16="http://schemas.microsoft.com/office/drawing/2014/main" xmlns="" id="{E7CAD503-A102-B44B-9C6B-B30F3C55AFE9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6118155" y="2103084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60" name="Marcador de posición de imagen 3">
            <a:extLst>
              <a:ext uri="{FF2B5EF4-FFF2-40B4-BE49-F238E27FC236}">
                <a16:creationId xmlns:a16="http://schemas.microsoft.com/office/drawing/2014/main" xmlns="" id="{B55D27B1-5A3C-974C-BE65-F74B63816EF2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8969291" y="2103084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61" name="Marcador de posición de imagen 3">
            <a:extLst>
              <a:ext uri="{FF2B5EF4-FFF2-40B4-BE49-F238E27FC236}">
                <a16:creationId xmlns:a16="http://schemas.microsoft.com/office/drawing/2014/main" xmlns="" id="{537522F4-CAC5-624A-9444-E535A83A84B1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463387" y="2103084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25" name="Marcador de número de diapositiva 1">
            <a:extLst>
              <a:ext uri="{FF2B5EF4-FFF2-40B4-BE49-F238E27FC236}">
                <a16:creationId xmlns:a16="http://schemas.microsoft.com/office/drawing/2014/main" xmlns="" id="{A6AECD0F-9426-464D-BB7E-B8E60D81534C}"/>
              </a:ext>
            </a:extLst>
          </p:cNvPr>
          <p:cNvSpPr>
            <a:spLocks noGrp="1"/>
          </p:cNvSpPr>
          <p:nvPr>
            <p:ph type="sldNum" sz="quarter" idx="57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8A8A8A"/>
                </a:solidFill>
              </a:rPr>
              <a:pPr/>
              <a:t>‹Nº›</a:t>
            </a:fld>
            <a:endParaRPr lang="es-CL" dirty="0">
              <a:solidFill>
                <a:srgbClr val="8A8A8A"/>
              </a:solidFill>
            </a:endParaRPr>
          </a:p>
        </p:txBody>
      </p:sp>
      <p:sp>
        <p:nvSpPr>
          <p:cNvPr id="23" name="Marcador de texto 7">
            <a:extLst>
              <a:ext uri="{FF2B5EF4-FFF2-40B4-BE49-F238E27FC236}">
                <a16:creationId xmlns:a16="http://schemas.microsoft.com/office/drawing/2014/main" xmlns="" id="{9B217198-0325-2343-8826-2BB07C45F3E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28" name="Conector recto 27">
            <a:extLst>
              <a:ext uri="{FF2B5EF4-FFF2-40B4-BE49-F238E27FC236}">
                <a16:creationId xmlns:a16="http://schemas.microsoft.com/office/drawing/2014/main" xmlns="" id="{DEFE2DED-0681-564C-B5DA-C9707DEC98D3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9" name="Marcador de texto 7">
            <a:extLst>
              <a:ext uri="{FF2B5EF4-FFF2-40B4-BE49-F238E27FC236}">
                <a16:creationId xmlns:a16="http://schemas.microsoft.com/office/drawing/2014/main" xmlns="" id="{85D0DB1A-42C3-6F4B-9095-3EDE2D6A3F6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2721074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586" userDrawn="1">
          <p15:clr>
            <a:srgbClr val="FBAE40"/>
          </p15:clr>
        </p15:guide>
        <p15:guide id="2" pos="4292" userDrawn="1">
          <p15:clr>
            <a:srgbClr val="FBAE40"/>
          </p15:clr>
        </p15:guide>
        <p15:guide id="3" pos="2926" userDrawn="1">
          <p15:clr>
            <a:srgbClr val="FBAE40"/>
          </p15:clr>
        </p15:guide>
        <p15:guide id="4" pos="1561" userDrawn="1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ámina diagra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39" name="Conector recto 74">
            <a:extLst>
              <a:ext uri="{FF2B5EF4-FFF2-40B4-BE49-F238E27FC236}">
                <a16:creationId xmlns:a16="http://schemas.microsoft.com/office/drawing/2014/main" xmlns="" id="{2E83A0D3-D9D1-6D40-A776-3D97DAAA669E}"/>
              </a:ext>
            </a:extLst>
          </p:cNvPr>
          <p:cNvSpPr/>
          <p:nvPr userDrawn="1"/>
        </p:nvSpPr>
        <p:spPr>
          <a:xfrm flipH="1">
            <a:off x="2490404" y="4761361"/>
            <a:ext cx="2100482" cy="1"/>
          </a:xfrm>
          <a:prstGeom prst="line">
            <a:avLst/>
          </a:prstGeom>
          <a:solidFill>
            <a:srgbClr val="FFFFFF"/>
          </a:solidFill>
          <a:ln w="15875">
            <a:solidFill>
              <a:srgbClr val="34783B"/>
            </a:solidFill>
            <a:miter lim="400000"/>
          </a:ln>
        </p:spPr>
        <p:txBody>
          <a:bodyPr lIns="25372" tIns="25372" rIns="25372" bIns="25372" anchor="ctr"/>
          <a:lstStyle/>
          <a:p>
            <a:pPr algn="ctr" defTabSz="412281"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 dirty="0">
              <a:solidFill>
                <a:srgbClr val="FFFFFF"/>
              </a:solidFill>
              <a:ea typeface="Helvetica Neue Medium"/>
              <a:cs typeface="Arial" panose="020B0604020202020204" pitchFamily="34" charset="0"/>
              <a:sym typeface="Helvetica Neue Medium"/>
            </a:endParaRPr>
          </a:p>
        </p:txBody>
      </p:sp>
      <p:pic>
        <p:nvPicPr>
          <p:cNvPr id="40" name="Imagen" descr="Imagen">
            <a:extLst>
              <a:ext uri="{FF2B5EF4-FFF2-40B4-BE49-F238E27FC236}">
                <a16:creationId xmlns:a16="http://schemas.microsoft.com/office/drawing/2014/main" xmlns="" id="{9779F4AF-5D4E-794B-A466-FB22A903A06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261764" y="1712995"/>
            <a:ext cx="7735494" cy="2581598"/>
          </a:xfrm>
          <a:prstGeom prst="rect">
            <a:avLst/>
          </a:prstGeom>
          <a:ln w="12700" cap="flat">
            <a:noFill/>
            <a:miter lim="400000"/>
          </a:ln>
          <a:effectLst/>
        </p:spPr>
      </p:pic>
      <p:sp>
        <p:nvSpPr>
          <p:cNvPr id="42" name="Círculo">
            <a:extLst>
              <a:ext uri="{FF2B5EF4-FFF2-40B4-BE49-F238E27FC236}">
                <a16:creationId xmlns:a16="http://schemas.microsoft.com/office/drawing/2014/main" xmlns="" id="{47C42AAE-D2EA-A84A-871A-0C47609DE7C1}"/>
              </a:ext>
            </a:extLst>
          </p:cNvPr>
          <p:cNvSpPr/>
          <p:nvPr userDrawn="1"/>
        </p:nvSpPr>
        <p:spPr>
          <a:xfrm>
            <a:off x="2077341" y="2797290"/>
            <a:ext cx="413060" cy="413006"/>
          </a:xfrm>
          <a:prstGeom prst="ellipse">
            <a:avLst/>
          </a:prstGeom>
          <a:solidFill>
            <a:srgbClr val="FFFFFF"/>
          </a:solidFill>
          <a:ln w="31750" cap="flat">
            <a:solidFill>
              <a:schemeClr val="tx1"/>
            </a:solidFill>
            <a:prstDash val="solid"/>
            <a:miter lim="400000"/>
          </a:ln>
          <a:effectLst/>
        </p:spPr>
        <p:txBody>
          <a:bodyPr wrap="square" lIns="25372" tIns="25372" rIns="25372" bIns="25372" numCol="1" anchor="ctr">
            <a:noAutofit/>
          </a:bodyPr>
          <a:lstStyle/>
          <a:p>
            <a:pPr algn="ctr" defTabSz="412281"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 dirty="0">
              <a:solidFill>
                <a:srgbClr val="FFFFFF"/>
              </a:solidFill>
              <a:ea typeface="Helvetica Neue Medium"/>
              <a:cs typeface="Arial" panose="020B0604020202020204" pitchFamily="34" charset="0"/>
              <a:sym typeface="Helvetica Neue Medium"/>
            </a:endParaRPr>
          </a:p>
        </p:txBody>
      </p:sp>
      <p:sp>
        <p:nvSpPr>
          <p:cNvPr id="43" name="TextBox 3">
            <a:extLst>
              <a:ext uri="{FF2B5EF4-FFF2-40B4-BE49-F238E27FC236}">
                <a16:creationId xmlns:a16="http://schemas.microsoft.com/office/drawing/2014/main" xmlns="" id="{0FCA73FE-D49A-7545-825C-40B69769AC2B}"/>
              </a:ext>
            </a:extLst>
          </p:cNvPr>
          <p:cNvSpPr txBox="1"/>
          <p:nvPr userDrawn="1"/>
        </p:nvSpPr>
        <p:spPr>
          <a:xfrm>
            <a:off x="2186925" y="2856636"/>
            <a:ext cx="205405" cy="31162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numCol="1" anchor="t">
            <a:spAutoFit/>
          </a:bodyPr>
          <a:lstStyle>
            <a:lvl1pPr algn="ctr" defTabSz="1828800">
              <a:lnSpc>
                <a:spcPct val="110000"/>
              </a:lnSpc>
              <a:spcBef>
                <a:spcPts val="0"/>
              </a:spcBef>
              <a:defRPr sz="4000">
                <a:solidFill>
                  <a:srgbClr val="34783B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sz="1996" dirty="0"/>
              <a:t>1</a:t>
            </a:r>
          </a:p>
        </p:txBody>
      </p:sp>
      <p:sp>
        <p:nvSpPr>
          <p:cNvPr id="47" name="Círculo">
            <a:extLst>
              <a:ext uri="{FF2B5EF4-FFF2-40B4-BE49-F238E27FC236}">
                <a16:creationId xmlns:a16="http://schemas.microsoft.com/office/drawing/2014/main" xmlns="" id="{45ECB7D4-EDAE-FE48-9F43-04C457C03100}"/>
              </a:ext>
            </a:extLst>
          </p:cNvPr>
          <p:cNvSpPr/>
          <p:nvPr userDrawn="1"/>
        </p:nvSpPr>
        <p:spPr>
          <a:xfrm>
            <a:off x="7745563" y="3795582"/>
            <a:ext cx="413060" cy="413006"/>
          </a:xfrm>
          <a:prstGeom prst="ellipse">
            <a:avLst/>
          </a:prstGeom>
          <a:solidFill>
            <a:srgbClr val="FFFFFF"/>
          </a:solidFill>
          <a:ln w="31750" cap="flat">
            <a:solidFill>
              <a:srgbClr val="90BB3A"/>
            </a:solidFill>
            <a:prstDash val="solid"/>
            <a:miter lim="400000"/>
          </a:ln>
          <a:effectLst/>
        </p:spPr>
        <p:txBody>
          <a:bodyPr wrap="square" lIns="25372" tIns="25372" rIns="25372" bIns="25372" numCol="1" anchor="ctr">
            <a:noAutofit/>
          </a:bodyPr>
          <a:lstStyle/>
          <a:p>
            <a:pPr algn="ctr" defTabSz="412281"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 dirty="0">
              <a:solidFill>
                <a:srgbClr val="FFFFFF"/>
              </a:solidFill>
              <a:ea typeface="Helvetica Neue Medium"/>
              <a:cs typeface="Arial" panose="020B0604020202020204" pitchFamily="34" charset="0"/>
              <a:sym typeface="Helvetica Neue Medium"/>
            </a:endParaRPr>
          </a:p>
        </p:txBody>
      </p:sp>
      <p:sp>
        <p:nvSpPr>
          <p:cNvPr id="48" name="TextBox 3">
            <a:extLst>
              <a:ext uri="{FF2B5EF4-FFF2-40B4-BE49-F238E27FC236}">
                <a16:creationId xmlns:a16="http://schemas.microsoft.com/office/drawing/2014/main" xmlns="" id="{ECA73037-CC25-994E-B9C4-3D9D5FEDFBCF}"/>
              </a:ext>
            </a:extLst>
          </p:cNvPr>
          <p:cNvSpPr txBox="1"/>
          <p:nvPr userDrawn="1"/>
        </p:nvSpPr>
        <p:spPr>
          <a:xfrm>
            <a:off x="7861270" y="3849402"/>
            <a:ext cx="205405" cy="311624"/>
          </a:xfrm>
          <a:prstGeom prst="rect">
            <a:avLst/>
          </a:prstGeom>
          <a:noFill/>
          <a:ln w="12700" cap="flat">
            <a:solidFill>
              <a:schemeClr val="bg1"/>
            </a:solidFill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numCol="1" anchor="t">
            <a:spAutoFit/>
          </a:bodyPr>
          <a:lstStyle>
            <a:lvl1pPr algn="ctr" defTabSz="1828800">
              <a:lnSpc>
                <a:spcPct val="110000"/>
              </a:lnSpc>
              <a:spcBef>
                <a:spcPts val="0"/>
              </a:spcBef>
              <a:defRPr sz="4000">
                <a:solidFill>
                  <a:srgbClr val="90BB3A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sz="1996" dirty="0"/>
              <a:t>3</a:t>
            </a:r>
          </a:p>
        </p:txBody>
      </p:sp>
      <p:sp>
        <p:nvSpPr>
          <p:cNvPr id="49" name="Círculo">
            <a:extLst>
              <a:ext uri="{FF2B5EF4-FFF2-40B4-BE49-F238E27FC236}">
                <a16:creationId xmlns:a16="http://schemas.microsoft.com/office/drawing/2014/main" xmlns="" id="{B91AEEFA-2801-0E4A-A557-935B69C160C0}"/>
              </a:ext>
            </a:extLst>
          </p:cNvPr>
          <p:cNvSpPr/>
          <p:nvPr userDrawn="1"/>
        </p:nvSpPr>
        <p:spPr>
          <a:xfrm>
            <a:off x="5152317" y="1773241"/>
            <a:ext cx="413060" cy="413006"/>
          </a:xfrm>
          <a:prstGeom prst="ellipse">
            <a:avLst/>
          </a:prstGeom>
          <a:solidFill>
            <a:srgbClr val="FFFFFF"/>
          </a:solidFill>
          <a:ln w="31750" cap="flat">
            <a:solidFill>
              <a:schemeClr val="tx2"/>
            </a:solidFill>
            <a:prstDash val="solid"/>
            <a:miter lim="400000"/>
          </a:ln>
          <a:effectLst/>
        </p:spPr>
        <p:txBody>
          <a:bodyPr wrap="square" lIns="25372" tIns="25372" rIns="25372" bIns="25372" numCol="1" anchor="ctr">
            <a:noAutofit/>
          </a:bodyPr>
          <a:lstStyle/>
          <a:p>
            <a:pPr algn="ctr" defTabSz="412281"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 dirty="0">
              <a:solidFill>
                <a:srgbClr val="FFFFFF"/>
              </a:solidFill>
              <a:ea typeface="Helvetica Neue Medium"/>
              <a:cs typeface="Arial" panose="020B0604020202020204" pitchFamily="34" charset="0"/>
              <a:sym typeface="Helvetica Neue Medium"/>
            </a:endParaRPr>
          </a:p>
        </p:txBody>
      </p:sp>
      <p:sp>
        <p:nvSpPr>
          <p:cNvPr id="50" name="TextBox 3">
            <a:extLst>
              <a:ext uri="{FF2B5EF4-FFF2-40B4-BE49-F238E27FC236}">
                <a16:creationId xmlns:a16="http://schemas.microsoft.com/office/drawing/2014/main" xmlns="" id="{5CB1B3A6-600F-8646-AE4B-9007700B8084}"/>
              </a:ext>
            </a:extLst>
          </p:cNvPr>
          <p:cNvSpPr txBox="1"/>
          <p:nvPr userDrawn="1"/>
        </p:nvSpPr>
        <p:spPr>
          <a:xfrm>
            <a:off x="5259955" y="1832579"/>
            <a:ext cx="205405" cy="31162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numCol="1" anchor="t">
            <a:spAutoFit/>
          </a:bodyPr>
          <a:lstStyle>
            <a:lvl1pPr algn="ctr" defTabSz="1828800">
              <a:lnSpc>
                <a:spcPct val="110000"/>
              </a:lnSpc>
              <a:spcBef>
                <a:spcPts val="0"/>
              </a:spcBef>
              <a:defRPr sz="4000">
                <a:solidFill>
                  <a:srgbClr val="5E5E5E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sz="1996" dirty="0"/>
              <a:t>2</a:t>
            </a:r>
          </a:p>
        </p:txBody>
      </p:sp>
      <p:sp>
        <p:nvSpPr>
          <p:cNvPr id="51" name="Conector recto 74">
            <a:extLst>
              <a:ext uri="{FF2B5EF4-FFF2-40B4-BE49-F238E27FC236}">
                <a16:creationId xmlns:a16="http://schemas.microsoft.com/office/drawing/2014/main" xmlns="" id="{5581399F-60DC-C146-9774-D7BD814FB18C}"/>
              </a:ext>
            </a:extLst>
          </p:cNvPr>
          <p:cNvSpPr/>
          <p:nvPr userDrawn="1"/>
        </p:nvSpPr>
        <p:spPr>
          <a:xfrm flipH="1">
            <a:off x="5046557" y="4761361"/>
            <a:ext cx="2100482" cy="1"/>
          </a:xfrm>
          <a:prstGeom prst="line">
            <a:avLst/>
          </a:prstGeom>
          <a:solidFill>
            <a:srgbClr val="FFFFFF"/>
          </a:solidFill>
          <a:ln w="15875">
            <a:solidFill>
              <a:srgbClr val="5E5E5E"/>
            </a:solidFill>
            <a:miter lim="400000"/>
          </a:ln>
        </p:spPr>
        <p:txBody>
          <a:bodyPr lIns="25372" tIns="25372" rIns="25372" bIns="25372" anchor="ctr"/>
          <a:lstStyle/>
          <a:p>
            <a:pPr algn="ctr" defTabSz="412281"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 dirty="0">
              <a:solidFill>
                <a:srgbClr val="FFFFFF"/>
              </a:solidFill>
              <a:ea typeface="Helvetica Neue Medium"/>
              <a:cs typeface="Arial" panose="020B0604020202020204" pitchFamily="34" charset="0"/>
              <a:sym typeface="Helvetica Neue Medium"/>
            </a:endParaRPr>
          </a:p>
        </p:txBody>
      </p:sp>
      <p:sp>
        <p:nvSpPr>
          <p:cNvPr id="52" name="Conector recto 74">
            <a:extLst>
              <a:ext uri="{FF2B5EF4-FFF2-40B4-BE49-F238E27FC236}">
                <a16:creationId xmlns:a16="http://schemas.microsoft.com/office/drawing/2014/main" xmlns="" id="{27D50CA8-0FE2-7645-830A-F4271EB0ED40}"/>
              </a:ext>
            </a:extLst>
          </p:cNvPr>
          <p:cNvSpPr/>
          <p:nvPr userDrawn="1"/>
        </p:nvSpPr>
        <p:spPr>
          <a:xfrm flipH="1">
            <a:off x="7627553" y="4761361"/>
            <a:ext cx="2100482" cy="1"/>
          </a:xfrm>
          <a:prstGeom prst="line">
            <a:avLst/>
          </a:prstGeom>
          <a:solidFill>
            <a:srgbClr val="FFFFFF"/>
          </a:solidFill>
          <a:ln w="15875">
            <a:solidFill>
              <a:srgbClr val="90BB3A"/>
            </a:solidFill>
            <a:miter lim="400000"/>
          </a:ln>
        </p:spPr>
        <p:txBody>
          <a:bodyPr lIns="25372" tIns="25372" rIns="25372" bIns="25372" anchor="ctr"/>
          <a:lstStyle/>
          <a:p>
            <a:pPr algn="ctr" defTabSz="412281"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 dirty="0">
              <a:solidFill>
                <a:srgbClr val="FFFFFF"/>
              </a:solidFill>
              <a:ea typeface="Helvetica Neue Medium"/>
              <a:cs typeface="Arial" panose="020B0604020202020204" pitchFamily="34" charset="0"/>
              <a:sym typeface="Helvetica Neue Medium"/>
            </a:endParaRPr>
          </a:p>
        </p:txBody>
      </p:sp>
      <p:sp>
        <p:nvSpPr>
          <p:cNvPr id="57" name="Marcador de texto 7">
            <a:extLst>
              <a:ext uri="{FF2B5EF4-FFF2-40B4-BE49-F238E27FC236}">
                <a16:creationId xmlns:a16="http://schemas.microsoft.com/office/drawing/2014/main" xmlns="" id="{CB581C8C-78B0-CF47-B07E-37D4BD36572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490404" y="4999498"/>
            <a:ext cx="2100482" cy="758780"/>
          </a:xfrm>
          <a:prstGeom prst="rect">
            <a:avLst/>
          </a:prstGeom>
        </p:spPr>
        <p:txBody>
          <a:bodyPr/>
          <a:lstStyle>
            <a:lvl1pPr marL="171257" indent="-171257">
              <a:buClr>
                <a:schemeClr val="tx1"/>
              </a:buClr>
              <a:buSzPct val="80000"/>
              <a:buFont typeface="Wingdings" pitchFamily="2" charset="2"/>
              <a:buChar char="§"/>
              <a:defRPr sz="1600" b="0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58" name="Marcador de texto 7">
            <a:extLst>
              <a:ext uri="{FF2B5EF4-FFF2-40B4-BE49-F238E27FC236}">
                <a16:creationId xmlns:a16="http://schemas.microsoft.com/office/drawing/2014/main" xmlns="" id="{F6152E70-DB5D-FB46-AC42-E25D3884370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58979" y="4999498"/>
            <a:ext cx="2100482" cy="758780"/>
          </a:xfrm>
          <a:prstGeom prst="rect">
            <a:avLst/>
          </a:prstGeom>
        </p:spPr>
        <p:txBody>
          <a:bodyPr/>
          <a:lstStyle>
            <a:lvl1pPr marL="171257" indent="-171257">
              <a:buClr>
                <a:schemeClr val="tx2"/>
              </a:buClr>
              <a:buSzPct val="80000"/>
              <a:buFont typeface="Wingdings" pitchFamily="2" charset="2"/>
              <a:buChar char="§"/>
              <a:defRPr sz="16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59" name="Marcador de texto 7">
            <a:extLst>
              <a:ext uri="{FF2B5EF4-FFF2-40B4-BE49-F238E27FC236}">
                <a16:creationId xmlns:a16="http://schemas.microsoft.com/office/drawing/2014/main" xmlns="" id="{97E32544-5D63-C045-A2C9-208A3A350E2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27553" y="4999498"/>
            <a:ext cx="2100482" cy="758780"/>
          </a:xfrm>
          <a:prstGeom prst="rect">
            <a:avLst/>
          </a:prstGeom>
        </p:spPr>
        <p:txBody>
          <a:bodyPr/>
          <a:lstStyle>
            <a:lvl1pPr marL="171257" indent="-171257">
              <a:buClr>
                <a:schemeClr val="bg2"/>
              </a:buClr>
              <a:buSzPct val="80000"/>
              <a:buFont typeface="Wingdings" pitchFamily="2" charset="2"/>
              <a:buChar char="§"/>
              <a:defRPr sz="1600" b="0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25" name="Marcador de número de diapositiva 1">
            <a:extLst>
              <a:ext uri="{FF2B5EF4-FFF2-40B4-BE49-F238E27FC236}">
                <a16:creationId xmlns:a16="http://schemas.microsoft.com/office/drawing/2014/main" xmlns="" id="{BD2892FD-8B11-D94E-92D6-35A1466F2AC1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8A8A8A"/>
                </a:solidFill>
              </a:rPr>
              <a:pPr/>
              <a:t>‹Nº›</a:t>
            </a:fld>
            <a:endParaRPr lang="es-CL" dirty="0">
              <a:solidFill>
                <a:srgbClr val="8A8A8A"/>
              </a:solidFill>
            </a:endParaRPr>
          </a:p>
        </p:txBody>
      </p:sp>
      <p:sp>
        <p:nvSpPr>
          <p:cNvPr id="23" name="Marcador de texto 7">
            <a:extLst>
              <a:ext uri="{FF2B5EF4-FFF2-40B4-BE49-F238E27FC236}">
                <a16:creationId xmlns:a16="http://schemas.microsoft.com/office/drawing/2014/main" xmlns="" id="{4D8C07C6-F038-574C-9447-EE5D23F2AED9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2490404" y="2789699"/>
            <a:ext cx="2100482" cy="758780"/>
          </a:xfrm>
          <a:prstGeom prst="rect">
            <a:avLst/>
          </a:prstGeom>
        </p:spPr>
        <p:txBody>
          <a:bodyPr/>
          <a:lstStyle>
            <a:lvl1pPr marL="171257" indent="-171257" algn="ctr">
              <a:buClr>
                <a:schemeClr val="tx1"/>
              </a:buClr>
              <a:buSzPct val="80000"/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26" name="Marcador de texto 7">
            <a:extLst>
              <a:ext uri="{FF2B5EF4-FFF2-40B4-BE49-F238E27FC236}">
                <a16:creationId xmlns:a16="http://schemas.microsoft.com/office/drawing/2014/main" xmlns="" id="{078480EC-C091-BE4F-BA1A-99D711D37C60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5058979" y="2789699"/>
            <a:ext cx="2100482" cy="758780"/>
          </a:xfrm>
          <a:prstGeom prst="rect">
            <a:avLst/>
          </a:prstGeom>
        </p:spPr>
        <p:txBody>
          <a:bodyPr/>
          <a:lstStyle>
            <a:lvl1pPr marL="171257" indent="-171257" algn="ctr">
              <a:buClr>
                <a:schemeClr val="tx2"/>
              </a:buClr>
              <a:buSzPct val="80000"/>
              <a:buFontTx/>
              <a:buNone/>
              <a:defRPr sz="1600" b="1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27" name="Marcador de texto 7">
            <a:extLst>
              <a:ext uri="{FF2B5EF4-FFF2-40B4-BE49-F238E27FC236}">
                <a16:creationId xmlns:a16="http://schemas.microsoft.com/office/drawing/2014/main" xmlns="" id="{A2A206CD-450F-6D4C-9ED9-D8B8580AA5FC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627553" y="2789699"/>
            <a:ext cx="2100482" cy="758780"/>
          </a:xfrm>
          <a:prstGeom prst="rect">
            <a:avLst/>
          </a:prstGeom>
        </p:spPr>
        <p:txBody>
          <a:bodyPr/>
          <a:lstStyle>
            <a:lvl1pPr marL="171257" indent="-171257" algn="ctr">
              <a:buClr>
                <a:schemeClr val="bg2"/>
              </a:buClr>
              <a:buSzPct val="80000"/>
              <a:buFontTx/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28" name="Marcador de texto 7">
            <a:extLst>
              <a:ext uri="{FF2B5EF4-FFF2-40B4-BE49-F238E27FC236}">
                <a16:creationId xmlns:a16="http://schemas.microsoft.com/office/drawing/2014/main" xmlns="" id="{E4807BBE-DF36-9645-BE4E-3486868EFED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31" name="Conector recto 30">
            <a:extLst>
              <a:ext uri="{FF2B5EF4-FFF2-40B4-BE49-F238E27FC236}">
                <a16:creationId xmlns:a16="http://schemas.microsoft.com/office/drawing/2014/main" xmlns="" id="{3C1110E9-A7AE-874A-A8A4-0C61FCC549FC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2" name="Marcador de texto 7">
            <a:extLst>
              <a:ext uri="{FF2B5EF4-FFF2-40B4-BE49-F238E27FC236}">
                <a16:creationId xmlns:a16="http://schemas.microsoft.com/office/drawing/2014/main" xmlns="" id="{CE8087DE-913C-CE43-A9AD-19E1C79C5C3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9246821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13" userDrawn="1">
          <p15:clr>
            <a:srgbClr val="FBAE40"/>
          </p15:clr>
        </p15:guide>
        <p15:guide id="2" pos="919" userDrawn="1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ámina notic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Imagen 38">
            <a:extLst>
              <a:ext uri="{FF2B5EF4-FFF2-40B4-BE49-F238E27FC236}">
                <a16:creationId xmlns:a16="http://schemas.microsoft.com/office/drawing/2014/main" xmlns="" id="{A18F745A-2F94-7047-844D-CB79FE04F50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43" name="Rectángulo">
            <a:extLst>
              <a:ext uri="{FF2B5EF4-FFF2-40B4-BE49-F238E27FC236}">
                <a16:creationId xmlns:a16="http://schemas.microsoft.com/office/drawing/2014/main" xmlns="" id="{42316AC7-064E-6646-A5F4-425D51B6A2C9}"/>
              </a:ext>
            </a:extLst>
          </p:cNvPr>
          <p:cNvSpPr/>
          <p:nvPr userDrawn="1"/>
        </p:nvSpPr>
        <p:spPr>
          <a:xfrm>
            <a:off x="430847" y="3429000"/>
            <a:ext cx="2736414" cy="34301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>
            <a:noFill/>
            <a:miter lim="400000"/>
          </a:ln>
        </p:spPr>
        <p:txBody>
          <a:bodyPr lIns="25372" tIns="25372" rIns="25372" bIns="25372" anchor="ctr"/>
          <a:lstStyle/>
          <a:p>
            <a:pPr algn="ctr" defTabSz="912570">
              <a:defRPr sz="3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20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65" name="Marcador de texto 7">
            <a:extLst>
              <a:ext uri="{FF2B5EF4-FFF2-40B4-BE49-F238E27FC236}">
                <a16:creationId xmlns:a16="http://schemas.microsoft.com/office/drawing/2014/main" xmlns="" id="{6BF8A88C-2650-B342-AC6A-0910D46C631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7553" y="5036560"/>
            <a:ext cx="2186603" cy="15397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explicativo </a:t>
            </a:r>
          </a:p>
          <a:p>
            <a:pPr lvl="0"/>
            <a:r>
              <a:rPr lang="es-ES" dirty="0"/>
              <a:t>Arial Bold 16</a:t>
            </a:r>
            <a:endParaRPr lang="es-CL" dirty="0"/>
          </a:p>
        </p:txBody>
      </p:sp>
      <p:sp>
        <p:nvSpPr>
          <p:cNvPr id="66" name="Marcador de texto 7">
            <a:extLst>
              <a:ext uri="{FF2B5EF4-FFF2-40B4-BE49-F238E27FC236}">
                <a16:creationId xmlns:a16="http://schemas.microsoft.com/office/drawing/2014/main" xmlns="" id="{8FBF1655-AF76-F945-B38F-FE31E3035DB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7549" y="3947663"/>
            <a:ext cx="1257464" cy="51185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996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67" name="Marcador de texto 7">
            <a:extLst>
              <a:ext uri="{FF2B5EF4-FFF2-40B4-BE49-F238E27FC236}">
                <a16:creationId xmlns:a16="http://schemas.microsoft.com/office/drawing/2014/main" xmlns="" id="{D09FBF73-0F86-334D-A640-40FA6422E5D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7551" y="4506531"/>
            <a:ext cx="1339726" cy="25250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68" name="Rectángulo">
            <a:extLst>
              <a:ext uri="{FF2B5EF4-FFF2-40B4-BE49-F238E27FC236}">
                <a16:creationId xmlns:a16="http://schemas.microsoft.com/office/drawing/2014/main" xmlns="" id="{276E5EE1-B3E1-3F4B-83B9-25BBCDB7164A}"/>
              </a:ext>
            </a:extLst>
          </p:cNvPr>
          <p:cNvSpPr/>
          <p:nvPr userDrawn="1"/>
        </p:nvSpPr>
        <p:spPr>
          <a:xfrm>
            <a:off x="3285258" y="2606955"/>
            <a:ext cx="2736414" cy="4251053"/>
          </a:xfrm>
          <a:prstGeom prst="rect">
            <a:avLst/>
          </a:prstGeom>
          <a:solidFill>
            <a:schemeClr val="bg2"/>
          </a:solidFill>
          <a:ln w="12700">
            <a:noFill/>
            <a:miter lim="400000"/>
          </a:ln>
        </p:spPr>
        <p:txBody>
          <a:bodyPr lIns="25372" tIns="25372" rIns="25372" bIns="25372" anchor="ctr"/>
          <a:lstStyle/>
          <a:p>
            <a:pPr algn="ctr" defTabSz="912570">
              <a:defRPr sz="3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3596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69" name="Marcador de texto 7">
            <a:extLst>
              <a:ext uri="{FF2B5EF4-FFF2-40B4-BE49-F238E27FC236}">
                <a16:creationId xmlns:a16="http://schemas.microsoft.com/office/drawing/2014/main" xmlns="" id="{8DAFB3E8-F17D-0145-B3D7-D9F9A58CEAC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44641" y="4215680"/>
            <a:ext cx="2186603" cy="15397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explicativo</a:t>
            </a:r>
          </a:p>
          <a:p>
            <a:pPr lvl="0"/>
            <a:r>
              <a:rPr lang="es-ES" dirty="0"/>
              <a:t>Arial Bold 16</a:t>
            </a:r>
            <a:endParaRPr lang="es-CL" dirty="0"/>
          </a:p>
        </p:txBody>
      </p:sp>
      <p:sp>
        <p:nvSpPr>
          <p:cNvPr id="70" name="Marcador de texto 7">
            <a:extLst>
              <a:ext uri="{FF2B5EF4-FFF2-40B4-BE49-F238E27FC236}">
                <a16:creationId xmlns:a16="http://schemas.microsoft.com/office/drawing/2014/main" xmlns="" id="{69AEA284-6214-104E-8E27-8BB480AF74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44637" y="3126783"/>
            <a:ext cx="1257464" cy="51185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996" b="0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71" name="Marcador de texto 7">
            <a:extLst>
              <a:ext uri="{FF2B5EF4-FFF2-40B4-BE49-F238E27FC236}">
                <a16:creationId xmlns:a16="http://schemas.microsoft.com/office/drawing/2014/main" xmlns="" id="{38C79E41-A17D-4B48-8B91-1215DC2A1A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44642" y="3685650"/>
            <a:ext cx="1339726" cy="25250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72" name="Rectángulo">
            <a:extLst>
              <a:ext uri="{FF2B5EF4-FFF2-40B4-BE49-F238E27FC236}">
                <a16:creationId xmlns:a16="http://schemas.microsoft.com/office/drawing/2014/main" xmlns="" id="{34114B99-D22D-E64B-9FCB-2F541FEA6055}"/>
              </a:ext>
            </a:extLst>
          </p:cNvPr>
          <p:cNvSpPr/>
          <p:nvPr userDrawn="1"/>
        </p:nvSpPr>
        <p:spPr>
          <a:xfrm>
            <a:off x="6139666" y="3427828"/>
            <a:ext cx="2736414" cy="34301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>
            <a:noFill/>
            <a:miter lim="400000"/>
          </a:ln>
        </p:spPr>
        <p:txBody>
          <a:bodyPr lIns="25372" tIns="25372" rIns="25372" bIns="25372" anchor="ctr"/>
          <a:lstStyle/>
          <a:p>
            <a:pPr algn="ctr" defTabSz="912570">
              <a:defRPr sz="3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3596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73" name="Marcador de texto 7">
            <a:extLst>
              <a:ext uri="{FF2B5EF4-FFF2-40B4-BE49-F238E27FC236}">
                <a16:creationId xmlns:a16="http://schemas.microsoft.com/office/drawing/2014/main" xmlns="" id="{E6767AED-37F8-A841-8040-0EEB3BC4FFD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412902" y="5036560"/>
            <a:ext cx="2186603" cy="15397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explicativo</a:t>
            </a:r>
          </a:p>
          <a:p>
            <a:pPr lvl="0"/>
            <a:r>
              <a:rPr lang="es-ES" dirty="0"/>
              <a:t>Arial Bold 16</a:t>
            </a:r>
            <a:endParaRPr lang="es-CL" dirty="0"/>
          </a:p>
        </p:txBody>
      </p:sp>
      <p:sp>
        <p:nvSpPr>
          <p:cNvPr id="74" name="Marcador de texto 7">
            <a:extLst>
              <a:ext uri="{FF2B5EF4-FFF2-40B4-BE49-F238E27FC236}">
                <a16:creationId xmlns:a16="http://schemas.microsoft.com/office/drawing/2014/main" xmlns="" id="{55E7DFFB-09B1-2241-828E-6853EF3F217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12901" y="3947663"/>
            <a:ext cx="1257464" cy="51185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996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90" name="Marcador de texto 7">
            <a:extLst>
              <a:ext uri="{FF2B5EF4-FFF2-40B4-BE49-F238E27FC236}">
                <a16:creationId xmlns:a16="http://schemas.microsoft.com/office/drawing/2014/main" xmlns="" id="{A458015D-8739-2F48-BD8C-5FAB6F27784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12906" y="4506531"/>
            <a:ext cx="1339726" cy="25250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91" name="Rectángulo">
            <a:extLst>
              <a:ext uri="{FF2B5EF4-FFF2-40B4-BE49-F238E27FC236}">
                <a16:creationId xmlns:a16="http://schemas.microsoft.com/office/drawing/2014/main" xmlns="" id="{10682241-31DE-024D-A676-34E4EE3DCF6E}"/>
              </a:ext>
            </a:extLst>
          </p:cNvPr>
          <p:cNvSpPr/>
          <p:nvPr userDrawn="1"/>
        </p:nvSpPr>
        <p:spPr>
          <a:xfrm>
            <a:off x="8994072" y="3427828"/>
            <a:ext cx="2736414" cy="34301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>
            <a:noFill/>
            <a:miter lim="400000"/>
          </a:ln>
        </p:spPr>
        <p:txBody>
          <a:bodyPr lIns="25372" tIns="25372" rIns="25372" bIns="25372" anchor="ctr"/>
          <a:lstStyle/>
          <a:p>
            <a:pPr algn="ctr" defTabSz="912570">
              <a:defRPr sz="3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3596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92" name="Marcador de texto 7">
            <a:extLst>
              <a:ext uri="{FF2B5EF4-FFF2-40B4-BE49-F238E27FC236}">
                <a16:creationId xmlns:a16="http://schemas.microsoft.com/office/drawing/2014/main" xmlns="" id="{37B63F82-511B-904F-AE58-F9D32809557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39602" y="5036560"/>
            <a:ext cx="2186603" cy="15397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explicativo</a:t>
            </a:r>
          </a:p>
          <a:p>
            <a:pPr lvl="0"/>
            <a:r>
              <a:rPr lang="es-ES" dirty="0"/>
              <a:t>Arial Bold 16</a:t>
            </a:r>
            <a:endParaRPr lang="es-CL" dirty="0"/>
          </a:p>
        </p:txBody>
      </p:sp>
      <p:sp>
        <p:nvSpPr>
          <p:cNvPr id="93" name="Marcador de texto 7">
            <a:extLst>
              <a:ext uri="{FF2B5EF4-FFF2-40B4-BE49-F238E27FC236}">
                <a16:creationId xmlns:a16="http://schemas.microsoft.com/office/drawing/2014/main" xmlns="" id="{1B33BBFE-9406-CE41-ACA3-CFE95C7448A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239598" y="3947663"/>
            <a:ext cx="1257464" cy="51185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996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94" name="Marcador de texto 7">
            <a:extLst>
              <a:ext uri="{FF2B5EF4-FFF2-40B4-BE49-F238E27FC236}">
                <a16:creationId xmlns:a16="http://schemas.microsoft.com/office/drawing/2014/main" xmlns="" id="{C874917F-D4AC-584B-91E6-BD1A3D307CF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39601" y="4506531"/>
            <a:ext cx="1339726" cy="25250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22" name="Marcador de texto 7">
            <a:extLst>
              <a:ext uri="{FF2B5EF4-FFF2-40B4-BE49-F238E27FC236}">
                <a16:creationId xmlns:a16="http://schemas.microsoft.com/office/drawing/2014/main" xmlns="" id="{923FBA97-E4C3-5E41-BDE8-E626368C787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26" name="Conector recto 25">
            <a:extLst>
              <a:ext uri="{FF2B5EF4-FFF2-40B4-BE49-F238E27FC236}">
                <a16:creationId xmlns:a16="http://schemas.microsoft.com/office/drawing/2014/main" xmlns="" id="{A6D2B90F-BF7C-5749-A862-DAE4947F632C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7" name="Marcador de texto 7">
            <a:extLst>
              <a:ext uri="{FF2B5EF4-FFF2-40B4-BE49-F238E27FC236}">
                <a16:creationId xmlns:a16="http://schemas.microsoft.com/office/drawing/2014/main" xmlns="" id="{F4B6FA18-E24C-1C4B-AA39-656A4DB12FA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12801098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46" userDrawn="1">
          <p15:clr>
            <a:srgbClr val="FBAE40"/>
          </p15:clr>
        </p15:guide>
        <p15:guide id="2" pos="2952" userDrawn="1">
          <p15:clr>
            <a:srgbClr val="FBAE40"/>
          </p15:clr>
        </p15:guide>
        <p15:guide id="3" orient="horz" pos="1248" userDrawn="1">
          <p15:clr>
            <a:srgbClr val="FBAE40"/>
          </p15:clr>
        </p15:guide>
        <p15:guide id="4" pos="1578" userDrawn="1">
          <p15:clr>
            <a:srgbClr val="FBAE40"/>
          </p15:clr>
        </p15:guide>
        <p15:guide id="5" pos="4309" userDrawn="1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ámina noticias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Imagen 38">
            <a:extLst>
              <a:ext uri="{FF2B5EF4-FFF2-40B4-BE49-F238E27FC236}">
                <a16:creationId xmlns:a16="http://schemas.microsoft.com/office/drawing/2014/main" xmlns="" id="{A18F745A-2F94-7047-844D-CB79FE04F50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22" name="Rectángulo">
            <a:extLst>
              <a:ext uri="{FF2B5EF4-FFF2-40B4-BE49-F238E27FC236}">
                <a16:creationId xmlns:a16="http://schemas.microsoft.com/office/drawing/2014/main" xmlns="" id="{924593A7-BA3B-134F-B552-3C8E240BE639}"/>
              </a:ext>
            </a:extLst>
          </p:cNvPr>
          <p:cNvSpPr/>
          <p:nvPr userDrawn="1"/>
        </p:nvSpPr>
        <p:spPr>
          <a:xfrm>
            <a:off x="436624" y="2598739"/>
            <a:ext cx="2736414" cy="428307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>
            <a:noFill/>
            <a:miter lim="400000"/>
          </a:ln>
        </p:spPr>
        <p:txBody>
          <a:bodyPr lIns="25372" tIns="25372" rIns="25372" bIns="25372" anchor="ctr"/>
          <a:lstStyle/>
          <a:p>
            <a:pPr algn="ctr" defTabSz="912570">
              <a:defRPr sz="3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3596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8" name="Marcador de texto 7">
            <a:extLst>
              <a:ext uri="{FF2B5EF4-FFF2-40B4-BE49-F238E27FC236}">
                <a16:creationId xmlns:a16="http://schemas.microsoft.com/office/drawing/2014/main" xmlns="" id="{F57E9CCB-4FEF-3B4C-BB29-A871DC96C8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76372" y="2870424"/>
            <a:ext cx="1257464" cy="51185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29" name="Marcador de texto 7">
            <a:extLst>
              <a:ext uri="{FF2B5EF4-FFF2-40B4-BE49-F238E27FC236}">
                <a16:creationId xmlns:a16="http://schemas.microsoft.com/office/drawing/2014/main" xmlns="" id="{D012B9D1-835B-7745-97E3-74B7D8ED94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76372" y="3429292"/>
            <a:ext cx="2337096" cy="123987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6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r>
              <a:rPr lang="es-CL" dirty="0"/>
              <a:t>Texto explicativo Arial 16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xmlns="" id="{0EA17AB2-535B-3E41-9012-14AE4DF3B69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76367" y="4852201"/>
            <a:ext cx="2337105" cy="1465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32" name="Rectángulo">
            <a:extLst>
              <a:ext uri="{FF2B5EF4-FFF2-40B4-BE49-F238E27FC236}">
                <a16:creationId xmlns:a16="http://schemas.microsoft.com/office/drawing/2014/main" xmlns="" id="{47872927-EDEB-034D-AB0F-40AD76882404}"/>
              </a:ext>
            </a:extLst>
          </p:cNvPr>
          <p:cNvSpPr/>
          <p:nvPr userDrawn="1"/>
        </p:nvSpPr>
        <p:spPr>
          <a:xfrm>
            <a:off x="3285258" y="2597945"/>
            <a:ext cx="2736414" cy="4283076"/>
          </a:xfrm>
          <a:prstGeom prst="rect">
            <a:avLst/>
          </a:prstGeom>
          <a:solidFill>
            <a:schemeClr val="accent4"/>
          </a:solidFill>
          <a:ln w="12700">
            <a:noFill/>
            <a:miter lim="400000"/>
          </a:ln>
        </p:spPr>
        <p:txBody>
          <a:bodyPr lIns="25372" tIns="25372" rIns="25372" bIns="25372" anchor="ctr"/>
          <a:lstStyle/>
          <a:p>
            <a:pPr algn="ctr" defTabSz="912570">
              <a:defRPr sz="3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3596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33" name="Marcador de texto 7">
            <a:extLst>
              <a:ext uri="{FF2B5EF4-FFF2-40B4-BE49-F238E27FC236}">
                <a16:creationId xmlns:a16="http://schemas.microsoft.com/office/drawing/2014/main" xmlns="" id="{0DCF0A1D-0E92-3E4E-AE6C-06E920D6E6E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13460" y="2870424"/>
            <a:ext cx="1257464" cy="51185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34" name="Marcador de texto 7">
            <a:extLst>
              <a:ext uri="{FF2B5EF4-FFF2-40B4-BE49-F238E27FC236}">
                <a16:creationId xmlns:a16="http://schemas.microsoft.com/office/drawing/2014/main" xmlns="" id="{6C423F7D-EEBF-3A44-B527-08BE6EB1B0E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513460" y="3429292"/>
            <a:ext cx="2337096" cy="123987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600" b="0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r>
              <a:rPr lang="es-CL" dirty="0"/>
              <a:t>Texto explicativo Arial 16</a:t>
            </a:r>
          </a:p>
        </p:txBody>
      </p:sp>
      <p:sp>
        <p:nvSpPr>
          <p:cNvPr id="35" name="Marcador de posición de imagen 2">
            <a:extLst>
              <a:ext uri="{FF2B5EF4-FFF2-40B4-BE49-F238E27FC236}">
                <a16:creationId xmlns:a16="http://schemas.microsoft.com/office/drawing/2014/main" xmlns="" id="{93186F0C-C7B9-764C-B99E-96FA0437C4CE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3513455" y="4852201"/>
            <a:ext cx="2337105" cy="1465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36" name="Rectángulo">
            <a:extLst>
              <a:ext uri="{FF2B5EF4-FFF2-40B4-BE49-F238E27FC236}">
                <a16:creationId xmlns:a16="http://schemas.microsoft.com/office/drawing/2014/main" xmlns="" id="{43BC13CA-7E2D-6E45-8712-486D874903DD}"/>
              </a:ext>
            </a:extLst>
          </p:cNvPr>
          <p:cNvSpPr/>
          <p:nvPr userDrawn="1"/>
        </p:nvSpPr>
        <p:spPr>
          <a:xfrm>
            <a:off x="6139665" y="2597945"/>
            <a:ext cx="2736414" cy="428307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>
            <a:noFill/>
            <a:miter lim="400000"/>
          </a:ln>
        </p:spPr>
        <p:txBody>
          <a:bodyPr lIns="25372" tIns="25372" rIns="25372" bIns="25372" anchor="ctr"/>
          <a:lstStyle/>
          <a:p>
            <a:pPr algn="ctr" defTabSz="912570">
              <a:defRPr sz="3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3596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37" name="Marcador de texto 7">
            <a:extLst>
              <a:ext uri="{FF2B5EF4-FFF2-40B4-BE49-F238E27FC236}">
                <a16:creationId xmlns:a16="http://schemas.microsoft.com/office/drawing/2014/main" xmlns="" id="{B61C247D-37DA-1141-B436-E9CA5E4D938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381728" y="2870424"/>
            <a:ext cx="1257464" cy="51185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38" name="Marcador de texto 7">
            <a:extLst>
              <a:ext uri="{FF2B5EF4-FFF2-40B4-BE49-F238E27FC236}">
                <a16:creationId xmlns:a16="http://schemas.microsoft.com/office/drawing/2014/main" xmlns="" id="{BBA61BC9-7FB0-9C4F-B8DC-AC4C5F1DD8D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81727" y="3429292"/>
            <a:ext cx="2337096" cy="123987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6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r>
              <a:rPr lang="es-CL" dirty="0"/>
              <a:t>Texto explicativo Arial 16</a:t>
            </a:r>
          </a:p>
        </p:txBody>
      </p:sp>
      <p:sp>
        <p:nvSpPr>
          <p:cNvPr id="44" name="Marcador de posición de imagen 2">
            <a:extLst>
              <a:ext uri="{FF2B5EF4-FFF2-40B4-BE49-F238E27FC236}">
                <a16:creationId xmlns:a16="http://schemas.microsoft.com/office/drawing/2014/main" xmlns="" id="{57D13356-69C7-2542-A744-E65AE47B81E2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381715" y="4852201"/>
            <a:ext cx="2337105" cy="1465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45" name="Rectángulo">
            <a:extLst>
              <a:ext uri="{FF2B5EF4-FFF2-40B4-BE49-F238E27FC236}">
                <a16:creationId xmlns:a16="http://schemas.microsoft.com/office/drawing/2014/main" xmlns="" id="{8FB68190-D7E3-B141-817A-FAF1FE4B4632}"/>
              </a:ext>
            </a:extLst>
          </p:cNvPr>
          <p:cNvSpPr/>
          <p:nvPr userDrawn="1"/>
        </p:nvSpPr>
        <p:spPr>
          <a:xfrm>
            <a:off x="8994071" y="2597945"/>
            <a:ext cx="2736414" cy="428307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>
            <a:noFill/>
            <a:miter lim="400000"/>
          </a:ln>
        </p:spPr>
        <p:txBody>
          <a:bodyPr lIns="25372" tIns="25372" rIns="25372" bIns="25372" anchor="ctr"/>
          <a:lstStyle/>
          <a:p>
            <a:pPr algn="ctr" defTabSz="912570">
              <a:defRPr sz="3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3596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46" name="Marcador de texto 7">
            <a:extLst>
              <a:ext uri="{FF2B5EF4-FFF2-40B4-BE49-F238E27FC236}">
                <a16:creationId xmlns:a16="http://schemas.microsoft.com/office/drawing/2014/main" xmlns="" id="{31421233-7F3D-574E-9B40-A3D57BE496C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208423" y="2870424"/>
            <a:ext cx="1257464" cy="51185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47" name="Marcador de texto 7">
            <a:extLst>
              <a:ext uri="{FF2B5EF4-FFF2-40B4-BE49-F238E27FC236}">
                <a16:creationId xmlns:a16="http://schemas.microsoft.com/office/drawing/2014/main" xmlns="" id="{B2A73391-D262-9140-B309-BB12AA19FA1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208424" y="3429292"/>
            <a:ext cx="2337096" cy="123987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6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r>
              <a:rPr lang="es-CL" dirty="0"/>
              <a:t>Texto explicativo Arial 16</a:t>
            </a:r>
          </a:p>
        </p:txBody>
      </p:sp>
      <p:sp>
        <p:nvSpPr>
          <p:cNvPr id="48" name="Marcador de posición de imagen 2">
            <a:extLst>
              <a:ext uri="{FF2B5EF4-FFF2-40B4-BE49-F238E27FC236}">
                <a16:creationId xmlns:a16="http://schemas.microsoft.com/office/drawing/2014/main" xmlns="" id="{45275E7E-6C59-1249-AD15-26DA1036953E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9208411" y="4852201"/>
            <a:ext cx="2337105" cy="1465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23" name="Marcador de texto 7">
            <a:extLst>
              <a:ext uri="{FF2B5EF4-FFF2-40B4-BE49-F238E27FC236}">
                <a16:creationId xmlns:a16="http://schemas.microsoft.com/office/drawing/2014/main" xmlns="" id="{0DF2D4F5-BFF4-BA42-A5F2-9F63B0B8C8C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25" name="Conector recto 24">
            <a:extLst>
              <a:ext uri="{FF2B5EF4-FFF2-40B4-BE49-F238E27FC236}">
                <a16:creationId xmlns:a16="http://schemas.microsoft.com/office/drawing/2014/main" xmlns="" id="{9FF6CE03-CA68-3A41-8651-B0B0DBE026D4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7" name="Marcador de texto 7">
            <a:extLst>
              <a:ext uri="{FF2B5EF4-FFF2-40B4-BE49-F238E27FC236}">
                <a16:creationId xmlns:a16="http://schemas.microsoft.com/office/drawing/2014/main" xmlns="" id="{10623B86-9F71-884B-B968-29A25EF80A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68099024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46" userDrawn="1">
          <p15:clr>
            <a:srgbClr val="FBAE40"/>
          </p15:clr>
        </p15:guide>
        <p15:guide id="2" pos="2952" userDrawn="1">
          <p15:clr>
            <a:srgbClr val="FBAE40"/>
          </p15:clr>
        </p15:guide>
        <p15:guide id="3" orient="horz" pos="1247" userDrawn="1">
          <p15:clr>
            <a:srgbClr val="FBAE40"/>
          </p15:clr>
        </p15:guide>
        <p15:guide id="4" pos="1578" userDrawn="1">
          <p15:clr>
            <a:srgbClr val="FBAE40"/>
          </p15:clr>
        </p15:guide>
        <p15:guide id="5" pos="4309" userDrawn="1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texto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xmlns="" id="{C6F6EF54-31B0-E446-AA5A-A0BC24DEC5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3" y="1596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2599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3" y="1596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Marcador de posición de imagen 3">
            <a:extLst>
              <a:ext uri="{FF2B5EF4-FFF2-40B4-BE49-F238E27FC236}">
                <a16:creationId xmlns:a16="http://schemas.microsoft.com/office/drawing/2014/main" xmlns="" id="{602734B2-65B4-284E-AF5A-74CF40B7669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358816" y="1629752"/>
            <a:ext cx="7355289" cy="46457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30" name="Marcador de posición de imagen 5">
            <a:extLst>
              <a:ext uri="{FF2B5EF4-FFF2-40B4-BE49-F238E27FC236}">
                <a16:creationId xmlns:a16="http://schemas.microsoft.com/office/drawing/2014/main" xmlns="" id="{57FDAB6D-EC3D-AD46-90D9-9F81574BB84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50526" y="1629753"/>
            <a:ext cx="3599491" cy="2235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43" name="Marcador de posición de imagen 5">
            <a:extLst>
              <a:ext uri="{FF2B5EF4-FFF2-40B4-BE49-F238E27FC236}">
                <a16:creationId xmlns:a16="http://schemas.microsoft.com/office/drawing/2014/main" xmlns="" id="{2934B818-E267-2047-A000-A4E61AED264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50526" y="4039866"/>
            <a:ext cx="3599491" cy="2235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10" name="Marcador de número de diapositiva 1">
            <a:extLst>
              <a:ext uri="{FF2B5EF4-FFF2-40B4-BE49-F238E27FC236}">
                <a16:creationId xmlns:a16="http://schemas.microsoft.com/office/drawing/2014/main" xmlns="" id="{576392FD-B02F-5841-A6D5-3B95F612C7BA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8A8A8A"/>
                </a:solidFill>
              </a:rPr>
              <a:pPr/>
              <a:t>‹Nº›</a:t>
            </a:fld>
            <a:endParaRPr lang="es-CL" dirty="0">
              <a:solidFill>
                <a:srgbClr val="8A8A8A"/>
              </a:solidFill>
            </a:endParaRPr>
          </a:p>
        </p:txBody>
      </p:sp>
      <p:sp>
        <p:nvSpPr>
          <p:cNvPr id="11" name="Marcador de texto 7">
            <a:extLst>
              <a:ext uri="{FF2B5EF4-FFF2-40B4-BE49-F238E27FC236}">
                <a16:creationId xmlns:a16="http://schemas.microsoft.com/office/drawing/2014/main" xmlns="" id="{0D5B4A80-FF98-5043-9DB4-65A4E4D2B4D4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2" name="Conector recto 11">
            <a:extLst>
              <a:ext uri="{FF2B5EF4-FFF2-40B4-BE49-F238E27FC236}">
                <a16:creationId xmlns:a16="http://schemas.microsoft.com/office/drawing/2014/main" xmlns="" id="{1A2BD6C8-D199-F243-AC0C-40BCCDBBEE95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4" name="Marcador de texto 7">
            <a:extLst>
              <a:ext uri="{FF2B5EF4-FFF2-40B4-BE49-F238E27FC236}">
                <a16:creationId xmlns:a16="http://schemas.microsoft.com/office/drawing/2014/main" xmlns="" id="{8393B422-31BD-8F49-8CAF-F352986358DE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35387675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011" userDrawn="1">
          <p15:clr>
            <a:srgbClr val="FBAE40"/>
          </p15:clr>
        </p15:guide>
        <p15:guide id="2" pos="282" userDrawn="1">
          <p15:clr>
            <a:srgbClr val="FBAE40"/>
          </p15:clr>
        </p15:guide>
        <p15:guide id="3" orient="horz" pos="298" userDrawn="1">
          <p15:clr>
            <a:srgbClr val="FBAE40"/>
          </p15:clr>
        </p15:guide>
        <p15:guide id="4" pos="5622" userDrawn="1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texto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Marcador de posición de imagen 3">
            <a:extLst>
              <a:ext uri="{FF2B5EF4-FFF2-40B4-BE49-F238E27FC236}">
                <a16:creationId xmlns:a16="http://schemas.microsoft.com/office/drawing/2014/main" xmlns="" id="{602734B2-65B4-284E-AF5A-74CF40B7669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87452" y="635000"/>
            <a:ext cx="7085935" cy="5621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30" name="Marcador de posición de imagen 5">
            <a:extLst>
              <a:ext uri="{FF2B5EF4-FFF2-40B4-BE49-F238E27FC236}">
                <a16:creationId xmlns:a16="http://schemas.microsoft.com/office/drawing/2014/main" xmlns="" id="{57FDAB6D-EC3D-AD46-90D9-9F81574BB84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7893289" y="635000"/>
            <a:ext cx="38390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43" name="Marcador de posición de imagen 5">
            <a:extLst>
              <a:ext uri="{FF2B5EF4-FFF2-40B4-BE49-F238E27FC236}">
                <a16:creationId xmlns:a16="http://schemas.microsoft.com/office/drawing/2014/main" xmlns="" id="{2934B818-E267-2047-A000-A4E61AED264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893289" y="3551238"/>
            <a:ext cx="38390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7" name="Marcador de número de diapositiva 1">
            <a:extLst>
              <a:ext uri="{FF2B5EF4-FFF2-40B4-BE49-F238E27FC236}">
                <a16:creationId xmlns:a16="http://schemas.microsoft.com/office/drawing/2014/main" xmlns="" id="{53F0F98A-0BE7-C445-8A01-4DF67FEAEA39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8A8A8A"/>
                </a:solidFill>
              </a:rPr>
              <a:pPr/>
              <a:t>‹Nº›</a:t>
            </a:fld>
            <a:endParaRPr lang="es-CL" dirty="0">
              <a:solidFill>
                <a:srgbClr val="8A8A8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025951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011" userDrawn="1">
          <p15:clr>
            <a:srgbClr val="FBAE40"/>
          </p15:clr>
        </p15:guide>
        <p15:guide id="2" pos="282" userDrawn="1">
          <p15:clr>
            <a:srgbClr val="FBAE40"/>
          </p15:clr>
        </p15:guide>
        <p15:guide id="3" orient="horz" pos="298" userDrawn="1">
          <p15:clr>
            <a:srgbClr val="FBAE40"/>
          </p15:clr>
        </p15:guide>
        <p15:guide id="4" pos="5631" userDrawn="1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texto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Marcador de posición de imagen 3">
            <a:extLst>
              <a:ext uri="{FF2B5EF4-FFF2-40B4-BE49-F238E27FC236}">
                <a16:creationId xmlns:a16="http://schemas.microsoft.com/office/drawing/2014/main" xmlns="" id="{602734B2-65B4-284E-AF5A-74CF40B7669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" y="0"/>
            <a:ext cx="12193588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7" name="Marcador de número de diapositiva 1">
            <a:extLst>
              <a:ext uri="{FF2B5EF4-FFF2-40B4-BE49-F238E27FC236}">
                <a16:creationId xmlns:a16="http://schemas.microsoft.com/office/drawing/2014/main" xmlns="" id="{8C7E3B29-93C0-E749-825D-83469FC29305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8A8A8A"/>
                </a:solidFill>
              </a:rPr>
              <a:pPr/>
              <a:t>‹Nº›</a:t>
            </a:fld>
            <a:endParaRPr lang="es-CL" dirty="0">
              <a:solidFill>
                <a:srgbClr val="8A8A8A"/>
              </a:solidFill>
            </a:endParaRPr>
          </a:p>
        </p:txBody>
      </p:sp>
      <p:sp>
        <p:nvSpPr>
          <p:cNvPr id="6" name="Marcador de texto 7">
            <a:extLst>
              <a:ext uri="{FF2B5EF4-FFF2-40B4-BE49-F238E27FC236}">
                <a16:creationId xmlns:a16="http://schemas.microsoft.com/office/drawing/2014/main" xmlns="" id="{373DB92C-D7BC-D841-9636-BA32205DECB6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538541" y="450851"/>
            <a:ext cx="8338558" cy="41291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2396" b="1">
                <a:solidFill>
                  <a:schemeClr val="bg1"/>
                </a:solidFill>
                <a:highlight>
                  <a:srgbClr val="106737"/>
                </a:highlight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8" name="Conector recto 7">
            <a:extLst>
              <a:ext uri="{FF2B5EF4-FFF2-40B4-BE49-F238E27FC236}">
                <a16:creationId xmlns:a16="http://schemas.microsoft.com/office/drawing/2014/main" xmlns="" id="{1FC4C35B-D955-E047-9893-C6E4CC236A38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9" name="Marcador de texto 7">
            <a:extLst>
              <a:ext uri="{FF2B5EF4-FFF2-40B4-BE49-F238E27FC236}">
                <a16:creationId xmlns:a16="http://schemas.microsoft.com/office/drawing/2014/main" xmlns="" id="{9E69417E-6B74-E443-B820-1EE059052A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8541" y="878297"/>
            <a:ext cx="8338558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996" b="0">
                <a:solidFill>
                  <a:schemeClr val="accent2"/>
                </a:solidFill>
                <a:highlight>
                  <a:srgbClr val="106737"/>
                </a:highlight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681564072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E7C9BE3A-C113-F246-861B-ABE569370B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898" y="365130"/>
            <a:ext cx="10516969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xmlns="" id="{C047F12B-21B1-784B-A327-F733D57FFAA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898" y="1681163"/>
            <a:ext cx="5158458" cy="823912"/>
          </a:xfrm>
        </p:spPr>
        <p:txBody>
          <a:bodyPr anchor="b"/>
          <a:lstStyle>
            <a:lvl1pPr marL="0" indent="0">
              <a:buNone/>
              <a:defRPr sz="2396" b="1"/>
            </a:lvl1pPr>
            <a:lvl2pPr marL="456682" indent="0">
              <a:buNone/>
              <a:defRPr sz="1996" b="1"/>
            </a:lvl2pPr>
            <a:lvl3pPr marL="913363" indent="0">
              <a:buNone/>
              <a:defRPr sz="1797" b="1"/>
            </a:lvl3pPr>
            <a:lvl4pPr marL="1370046" indent="0">
              <a:buNone/>
              <a:defRPr sz="1600" b="1"/>
            </a:lvl4pPr>
            <a:lvl5pPr marL="1826726" indent="0">
              <a:buNone/>
              <a:defRPr sz="1600" b="1"/>
            </a:lvl5pPr>
            <a:lvl6pPr marL="2283407" indent="0">
              <a:buNone/>
              <a:defRPr sz="1600" b="1"/>
            </a:lvl6pPr>
            <a:lvl7pPr marL="2740089" indent="0">
              <a:buNone/>
              <a:defRPr sz="1600" b="1"/>
            </a:lvl7pPr>
            <a:lvl8pPr marL="3196769" indent="0">
              <a:buNone/>
              <a:defRPr sz="1600" b="1"/>
            </a:lvl8pPr>
            <a:lvl9pPr marL="3653451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xmlns="" id="{69E54B02-FA3F-F940-BF3B-610597E71DE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898" y="2505075"/>
            <a:ext cx="5158458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xmlns="" id="{9EEA8726-B371-7E42-99BE-CF0F1168AB0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3004" y="1681163"/>
            <a:ext cx="5183864" cy="823912"/>
          </a:xfrm>
        </p:spPr>
        <p:txBody>
          <a:bodyPr anchor="b"/>
          <a:lstStyle>
            <a:lvl1pPr marL="0" indent="0">
              <a:buNone/>
              <a:defRPr sz="2396" b="1"/>
            </a:lvl1pPr>
            <a:lvl2pPr marL="456682" indent="0">
              <a:buNone/>
              <a:defRPr sz="1996" b="1"/>
            </a:lvl2pPr>
            <a:lvl3pPr marL="913363" indent="0">
              <a:buNone/>
              <a:defRPr sz="1797" b="1"/>
            </a:lvl3pPr>
            <a:lvl4pPr marL="1370046" indent="0">
              <a:buNone/>
              <a:defRPr sz="1600" b="1"/>
            </a:lvl4pPr>
            <a:lvl5pPr marL="1826726" indent="0">
              <a:buNone/>
              <a:defRPr sz="1600" b="1"/>
            </a:lvl5pPr>
            <a:lvl6pPr marL="2283407" indent="0">
              <a:buNone/>
              <a:defRPr sz="1600" b="1"/>
            </a:lvl6pPr>
            <a:lvl7pPr marL="2740089" indent="0">
              <a:buNone/>
              <a:defRPr sz="1600" b="1"/>
            </a:lvl7pPr>
            <a:lvl8pPr marL="3196769" indent="0">
              <a:buNone/>
              <a:defRPr sz="1600" b="1"/>
            </a:lvl8pPr>
            <a:lvl9pPr marL="3653451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xmlns="" id="{E062E792-6391-B84A-9433-2A8590BF531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3004" y="2505075"/>
            <a:ext cx="5183864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xmlns="" id="{9D9B00F4-F105-214D-A58B-78C3FA0C5B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DB3C94-6D56-164E-BA24-E6E2F14D2128}" type="datetimeFigureOut">
              <a:rPr lang="es-CL" smtClean="0"/>
              <a:t>04-02-2025</a:t>
            </a:fld>
            <a:endParaRPr lang="es-CL" dirty="0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xmlns="" id="{637FA3A5-63FD-514B-9239-B315A185D6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xmlns="" id="{59DF646A-E7D9-774F-8939-D9B9E855C3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83AE60-A720-A443-B80B-BB7E1A5C8997}" type="slidenum">
              <a:rPr lang="es-CL" smtClean="0"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044755560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Verde Portadilla capitulo c titulo y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:a16="http://schemas.microsoft.com/office/drawing/2014/main" xmlns="" id="{A842F5C6-0515-1145-9807-C80362D28BC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2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3588" cy="6858000"/>
          </a:xfrm>
          <a:prstGeom prst="rect">
            <a:avLst/>
          </a:prstGeom>
        </p:spPr>
      </p:pic>
      <p:sp>
        <p:nvSpPr>
          <p:cNvPr id="3" name="Título 1">
            <a:extLst>
              <a:ext uri="{FF2B5EF4-FFF2-40B4-BE49-F238E27FC236}">
                <a16:creationId xmlns:a16="http://schemas.microsoft.com/office/drawing/2014/main" xmlns="" id="{543D02BF-D139-924D-9792-878836A739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187" y="452439"/>
            <a:ext cx="5918660" cy="1821130"/>
          </a:xfrm>
          <a:prstGeom prst="rect">
            <a:avLst/>
          </a:prstGeom>
        </p:spPr>
        <p:txBody>
          <a:bodyPr/>
          <a:lstStyle>
            <a:lvl1pPr>
              <a:lnSpc>
                <a:spcPts val="3996"/>
              </a:lnSpc>
              <a:defRPr sz="3996">
                <a:solidFill>
                  <a:schemeClr val="bg1"/>
                </a:solidFill>
              </a:defRPr>
            </a:lvl1pPr>
          </a:lstStyle>
          <a:p>
            <a:r>
              <a:rPr lang="es-ES" dirty="0"/>
              <a:t>Título portadilla</a:t>
            </a:r>
            <a:br>
              <a:rPr lang="es-ES" dirty="0"/>
            </a:br>
            <a:r>
              <a:rPr lang="es-ES" dirty="0"/>
              <a:t>Máximo 3 líneas</a:t>
            </a:r>
            <a:br>
              <a:rPr lang="es-ES" dirty="0"/>
            </a:br>
            <a:r>
              <a:rPr lang="es-ES" dirty="0"/>
              <a:t>Arial Bold – 40 puntos</a:t>
            </a:r>
            <a:endParaRPr lang="es-CL" dirty="0"/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xmlns="" id="{19AEBDCF-F640-B141-94AC-8D95A0E222E4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7818552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Verde Portadilla capitulo c titulo y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:a16="http://schemas.microsoft.com/office/drawing/2014/main" xmlns="" id="{A842F5C6-0515-1145-9807-C80362D28BC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2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3588" cy="6858000"/>
          </a:xfrm>
          <a:prstGeom prst="rect">
            <a:avLst/>
          </a:prstGeom>
        </p:spPr>
      </p:pic>
      <p:sp>
        <p:nvSpPr>
          <p:cNvPr id="3" name="Título 1">
            <a:extLst>
              <a:ext uri="{FF2B5EF4-FFF2-40B4-BE49-F238E27FC236}">
                <a16:creationId xmlns:a16="http://schemas.microsoft.com/office/drawing/2014/main" xmlns="" id="{543D02BF-D139-924D-9792-878836A739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187" y="452439"/>
            <a:ext cx="5918660" cy="1821130"/>
          </a:xfrm>
          <a:prstGeom prst="rect">
            <a:avLst/>
          </a:prstGeom>
        </p:spPr>
        <p:txBody>
          <a:bodyPr/>
          <a:lstStyle>
            <a:lvl1pPr>
              <a:lnSpc>
                <a:spcPts val="3996"/>
              </a:lnSpc>
              <a:defRPr sz="3996">
                <a:solidFill>
                  <a:schemeClr val="bg1"/>
                </a:solidFill>
              </a:defRPr>
            </a:lvl1pPr>
          </a:lstStyle>
          <a:p>
            <a:r>
              <a:rPr lang="es-ES" dirty="0"/>
              <a:t>Título portadilla</a:t>
            </a:r>
            <a:br>
              <a:rPr lang="es-ES" dirty="0"/>
            </a:br>
            <a:r>
              <a:rPr lang="es-ES" dirty="0"/>
              <a:t>Máximo 3 líneas</a:t>
            </a:r>
            <a:br>
              <a:rPr lang="es-ES" dirty="0"/>
            </a:br>
            <a:r>
              <a:rPr lang="es-ES" dirty="0"/>
              <a:t>Arial Bold – 40 puntos</a:t>
            </a:r>
            <a:endParaRPr lang="es-CL" dirty="0"/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xmlns="" id="{19AEBDCF-F640-B141-94AC-8D95A0E222E4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3925501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Verde Portadilla capitulo c titulo y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:a16="http://schemas.microsoft.com/office/drawing/2014/main" xmlns="" id="{A842F5C6-0515-1145-9807-C80362D28BC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2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3588" cy="6858000"/>
          </a:xfrm>
          <a:prstGeom prst="rect">
            <a:avLst/>
          </a:prstGeom>
        </p:spPr>
      </p:pic>
      <p:sp>
        <p:nvSpPr>
          <p:cNvPr id="3" name="Título 1">
            <a:extLst>
              <a:ext uri="{FF2B5EF4-FFF2-40B4-BE49-F238E27FC236}">
                <a16:creationId xmlns:a16="http://schemas.microsoft.com/office/drawing/2014/main" xmlns="" id="{543D02BF-D139-924D-9792-878836A739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187" y="452439"/>
            <a:ext cx="5918660" cy="1821130"/>
          </a:xfrm>
          <a:prstGeom prst="rect">
            <a:avLst/>
          </a:prstGeom>
        </p:spPr>
        <p:txBody>
          <a:bodyPr/>
          <a:lstStyle>
            <a:lvl1pPr>
              <a:lnSpc>
                <a:spcPts val="3996"/>
              </a:lnSpc>
              <a:defRPr sz="3996">
                <a:solidFill>
                  <a:srgbClr val="004F59"/>
                </a:solidFill>
              </a:defRPr>
            </a:lvl1pPr>
          </a:lstStyle>
          <a:p>
            <a:r>
              <a:rPr lang="es-ES" dirty="0"/>
              <a:t>Título portadilla</a:t>
            </a:r>
            <a:br>
              <a:rPr lang="es-ES" dirty="0"/>
            </a:br>
            <a:r>
              <a:rPr lang="es-ES" dirty="0"/>
              <a:t>Máximo 3 líneas</a:t>
            </a:r>
            <a:br>
              <a:rPr lang="es-ES" dirty="0"/>
            </a:br>
            <a:r>
              <a:rPr lang="es-ES" dirty="0"/>
              <a:t>Arial Bold – 40 puntos</a:t>
            </a:r>
            <a:endParaRPr lang="es-CL" dirty="0"/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xmlns="" id="{19AEBDCF-F640-B141-94AC-8D95A0E222E4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1382555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Verde Portadilla capitulo c titulo y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DF6EE129-4872-0A4A-B055-6213AA0EA01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3588" cy="6858000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xmlns="" id="{19AEBDCF-F640-B141-94AC-8D95A0E222E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8" name="Título 1">
            <a:extLst>
              <a:ext uri="{FF2B5EF4-FFF2-40B4-BE49-F238E27FC236}">
                <a16:creationId xmlns:a16="http://schemas.microsoft.com/office/drawing/2014/main" xmlns="" id="{51915D89-6592-B349-92CA-2C1DC6AFBE3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188" y="507313"/>
            <a:ext cx="9337445" cy="1821130"/>
          </a:xfrm>
          <a:prstGeom prst="rect">
            <a:avLst/>
          </a:prstGeom>
        </p:spPr>
        <p:txBody>
          <a:bodyPr/>
          <a:lstStyle>
            <a:lvl1pPr>
              <a:lnSpc>
                <a:spcPts val="3996"/>
              </a:lnSpc>
              <a:defRPr sz="3996">
                <a:solidFill>
                  <a:schemeClr val="bg1"/>
                </a:solidFill>
                <a:highlight>
                  <a:srgbClr val="004F59"/>
                </a:highlight>
              </a:defRPr>
            </a:lvl1pPr>
          </a:lstStyle>
          <a:p>
            <a:r>
              <a:rPr lang="es-ES" dirty="0"/>
              <a:t>Título portadilla</a:t>
            </a:r>
            <a:br>
              <a:rPr lang="es-ES" dirty="0"/>
            </a:br>
            <a:r>
              <a:rPr lang="es-ES" dirty="0"/>
              <a:t>Máximo 3 líneas</a:t>
            </a:r>
            <a:br>
              <a:rPr lang="es-ES" dirty="0"/>
            </a:br>
            <a:r>
              <a:rPr lang="es-ES" dirty="0"/>
              <a:t>Arial Bold – 40 puntos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727822829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Verde Portadilla capitulo c titulo y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DF6EE129-4872-0A4A-B055-6213AA0EA01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3588" cy="6858000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xmlns="" id="{19AEBDCF-F640-B141-94AC-8D95A0E222E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4" name="Título 1">
            <a:extLst>
              <a:ext uri="{FF2B5EF4-FFF2-40B4-BE49-F238E27FC236}">
                <a16:creationId xmlns:a16="http://schemas.microsoft.com/office/drawing/2014/main" xmlns="" id="{72B59E6F-F136-6641-AB57-1842D5D39A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188" y="507313"/>
            <a:ext cx="9337445" cy="1821130"/>
          </a:xfrm>
          <a:prstGeom prst="rect">
            <a:avLst/>
          </a:prstGeom>
        </p:spPr>
        <p:txBody>
          <a:bodyPr/>
          <a:lstStyle>
            <a:lvl1pPr>
              <a:lnSpc>
                <a:spcPts val="3996"/>
              </a:lnSpc>
              <a:defRPr sz="3996">
                <a:solidFill>
                  <a:schemeClr val="bg1"/>
                </a:solidFill>
                <a:highlight>
                  <a:srgbClr val="00773D"/>
                </a:highlight>
              </a:defRPr>
            </a:lvl1pPr>
          </a:lstStyle>
          <a:p>
            <a:r>
              <a:rPr lang="es-ES" dirty="0"/>
              <a:t>Título portadilla</a:t>
            </a:r>
            <a:br>
              <a:rPr lang="es-ES" dirty="0"/>
            </a:br>
            <a:r>
              <a:rPr lang="es-ES" dirty="0"/>
              <a:t>Máximo 3 líneas</a:t>
            </a:r>
            <a:br>
              <a:rPr lang="es-ES" dirty="0"/>
            </a:br>
            <a:r>
              <a:rPr lang="es-ES" dirty="0"/>
              <a:t>Arial Bold – 40 puntos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502129275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Verde Portadilla capitulo c titulo y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DF6EE129-4872-0A4A-B055-6213AA0EA01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6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3588" cy="6858000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xmlns="" id="{19AEBDCF-F640-B141-94AC-8D95A0E222E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4" name="Título 1">
            <a:extLst>
              <a:ext uri="{FF2B5EF4-FFF2-40B4-BE49-F238E27FC236}">
                <a16:creationId xmlns:a16="http://schemas.microsoft.com/office/drawing/2014/main" xmlns="" id="{BFEBE4AB-C2D5-C14F-9C76-26149131AE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188" y="507313"/>
            <a:ext cx="9337445" cy="1821130"/>
          </a:xfrm>
          <a:prstGeom prst="rect">
            <a:avLst/>
          </a:prstGeom>
        </p:spPr>
        <p:txBody>
          <a:bodyPr/>
          <a:lstStyle>
            <a:lvl1pPr>
              <a:lnSpc>
                <a:spcPts val="3996"/>
              </a:lnSpc>
              <a:defRPr sz="3996">
                <a:solidFill>
                  <a:schemeClr val="bg1"/>
                </a:solidFill>
                <a:highlight>
                  <a:srgbClr val="00773D"/>
                </a:highlight>
              </a:defRPr>
            </a:lvl1pPr>
          </a:lstStyle>
          <a:p>
            <a:r>
              <a:rPr lang="es-ES" dirty="0"/>
              <a:t>Título portadilla</a:t>
            </a:r>
            <a:br>
              <a:rPr lang="es-ES" dirty="0"/>
            </a:br>
            <a:r>
              <a:rPr lang="es-ES" dirty="0"/>
              <a:t>Máximo 3 líneas</a:t>
            </a:r>
            <a:br>
              <a:rPr lang="es-ES" dirty="0"/>
            </a:br>
            <a:r>
              <a:rPr lang="es-ES" dirty="0"/>
              <a:t>Arial Bold – 40 puntos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071782204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Verde Achs_sin logo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>
            <a:extLst>
              <a:ext uri="{FF2B5EF4-FFF2-40B4-BE49-F238E27FC236}">
                <a16:creationId xmlns:a16="http://schemas.microsoft.com/office/drawing/2014/main" xmlns="" id="{52A0A78E-9C19-6E4A-A9C5-010B72700B5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3" name="Marcador de texto 7">
            <a:extLst>
              <a:ext uri="{FF2B5EF4-FFF2-40B4-BE49-F238E27FC236}">
                <a16:creationId xmlns:a16="http://schemas.microsoft.com/office/drawing/2014/main" xmlns="" id="{9275DFA3-80D5-1740-B90A-EB45398A631D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538541" y="450851"/>
            <a:ext cx="8338558" cy="41291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2396" b="1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4" name="Conector recto 3">
            <a:extLst>
              <a:ext uri="{FF2B5EF4-FFF2-40B4-BE49-F238E27FC236}">
                <a16:creationId xmlns:a16="http://schemas.microsoft.com/office/drawing/2014/main" xmlns="" id="{00133179-9783-FE43-9A77-EC2141CDFCD6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5" name="Marcador de texto 7">
            <a:extLst>
              <a:ext uri="{FF2B5EF4-FFF2-40B4-BE49-F238E27FC236}">
                <a16:creationId xmlns:a16="http://schemas.microsoft.com/office/drawing/2014/main" xmlns="" id="{4FE243A2-320F-5C4F-849B-AE525629BAE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8541" y="878297"/>
            <a:ext cx="8338558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996" b="0">
                <a:solidFill>
                  <a:schemeClr val="accent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628360894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Verde Achs_sin logo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>
            <a:extLst>
              <a:ext uri="{FF2B5EF4-FFF2-40B4-BE49-F238E27FC236}">
                <a16:creationId xmlns:a16="http://schemas.microsoft.com/office/drawing/2014/main" xmlns="" id="{2640811A-8CC8-A046-A4CF-F235EF5F642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3" name="Marcador de texto 7">
            <a:extLst>
              <a:ext uri="{FF2B5EF4-FFF2-40B4-BE49-F238E27FC236}">
                <a16:creationId xmlns:a16="http://schemas.microsoft.com/office/drawing/2014/main" xmlns="" id="{2062270F-C64B-6540-AA09-829F60E76214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538541" y="450851"/>
            <a:ext cx="8338558" cy="41291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2396" b="1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4" name="Conector recto 3">
            <a:extLst>
              <a:ext uri="{FF2B5EF4-FFF2-40B4-BE49-F238E27FC236}">
                <a16:creationId xmlns:a16="http://schemas.microsoft.com/office/drawing/2014/main" xmlns="" id="{A747E280-0B20-7149-B59B-3D4EA440D82B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5" name="Marcador de texto 7">
            <a:extLst>
              <a:ext uri="{FF2B5EF4-FFF2-40B4-BE49-F238E27FC236}">
                <a16:creationId xmlns:a16="http://schemas.microsoft.com/office/drawing/2014/main" xmlns="" id="{6CC95EA1-DB75-9F47-A02F-9BE0DB0D567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8541" y="878297"/>
            <a:ext cx="8338558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996" b="0">
                <a:solidFill>
                  <a:schemeClr val="accent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083460873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Verde Achs_sin logo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>
            <a:extLst>
              <a:ext uri="{FF2B5EF4-FFF2-40B4-BE49-F238E27FC236}">
                <a16:creationId xmlns:a16="http://schemas.microsoft.com/office/drawing/2014/main" xmlns="" id="{00FF3ED5-CC62-284F-960E-CC143DB8E3C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3" name="Marcador de texto 7">
            <a:extLst>
              <a:ext uri="{FF2B5EF4-FFF2-40B4-BE49-F238E27FC236}">
                <a16:creationId xmlns:a16="http://schemas.microsoft.com/office/drawing/2014/main" xmlns="" id="{412316CD-85B2-1F4A-9F37-E12D776066E8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538541" y="450851"/>
            <a:ext cx="8338558" cy="41291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2396" b="1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4" name="Conector recto 3">
            <a:extLst>
              <a:ext uri="{FF2B5EF4-FFF2-40B4-BE49-F238E27FC236}">
                <a16:creationId xmlns:a16="http://schemas.microsoft.com/office/drawing/2014/main" xmlns="" id="{B4B865D6-A588-344B-B0D4-C631F4CA6C6F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5" name="Marcador de texto 7">
            <a:extLst>
              <a:ext uri="{FF2B5EF4-FFF2-40B4-BE49-F238E27FC236}">
                <a16:creationId xmlns:a16="http://schemas.microsoft.com/office/drawing/2014/main" xmlns="" id="{26DEB4F9-DC74-FA40-B2D6-FE63917C384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8541" y="878297"/>
            <a:ext cx="8338558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996" b="0">
                <a:solidFill>
                  <a:schemeClr val="accent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828356340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Verde Portadilla capitulo c titulo y log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:a16="http://schemas.microsoft.com/office/drawing/2014/main" xmlns="" id="{AE778524-FF3E-854B-8354-9055B254C10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8" name="Marcador de texto 7">
            <a:extLst>
              <a:ext uri="{FF2B5EF4-FFF2-40B4-BE49-F238E27FC236}">
                <a16:creationId xmlns:a16="http://schemas.microsoft.com/office/drawing/2014/main" xmlns="" id="{DC54188A-B9E9-1D4B-8950-07E76EB98485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538541" y="450851"/>
            <a:ext cx="8338558" cy="41291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2396" b="1">
                <a:solidFill>
                  <a:schemeClr val="bg1"/>
                </a:solidFill>
                <a:highlight>
                  <a:srgbClr val="106737"/>
                </a:highlight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9" name="Conector recto 8">
            <a:extLst>
              <a:ext uri="{FF2B5EF4-FFF2-40B4-BE49-F238E27FC236}">
                <a16:creationId xmlns:a16="http://schemas.microsoft.com/office/drawing/2014/main" xmlns="" id="{487C25FB-2509-FF4C-9730-F2421E8A6DE7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" name="Marcador de texto 7">
            <a:extLst>
              <a:ext uri="{FF2B5EF4-FFF2-40B4-BE49-F238E27FC236}">
                <a16:creationId xmlns:a16="http://schemas.microsoft.com/office/drawing/2014/main" xmlns="" id="{63559D8E-DA94-FE4A-8F9E-B86ECB18ACE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8541" y="878297"/>
            <a:ext cx="8338558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996" b="0">
                <a:solidFill>
                  <a:schemeClr val="accent2"/>
                </a:solidFill>
                <a:highlight>
                  <a:srgbClr val="106737"/>
                </a:highlight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31221388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5665EF9D-D16E-A64E-8BD3-09BCB6C62F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xmlns="" id="{E6BE26EA-A8CD-8842-933F-949D4F4CE2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DB3C94-6D56-164E-BA24-E6E2F14D2128}" type="datetimeFigureOut">
              <a:rPr lang="es-CL" smtClean="0"/>
              <a:t>04-02-2025</a:t>
            </a:fld>
            <a:endParaRPr lang="es-CL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xmlns="" id="{ECF64E7F-F27A-1142-8C95-7AFB1D11D6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xmlns="" id="{F67096DC-A03C-FA41-8973-685F21DB04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83AE60-A720-A443-B80B-BB7E1A5C8997}" type="slidenum">
              <a:rPr lang="es-CL" smtClean="0"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26795886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Verde Portadilla capitulo c titulo y logo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>
            <a:extLst>
              <a:ext uri="{FF2B5EF4-FFF2-40B4-BE49-F238E27FC236}">
                <a16:creationId xmlns:a16="http://schemas.microsoft.com/office/drawing/2014/main" xmlns="" id="{D995375A-BF6D-374E-9047-693FB87BEE3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940072" y="452446"/>
            <a:ext cx="796330" cy="796227"/>
          </a:xfrm>
          <a:prstGeom prst="rect">
            <a:avLst/>
          </a:prstGeom>
        </p:spPr>
      </p:pic>
      <p:sp>
        <p:nvSpPr>
          <p:cNvPr id="3" name="Título 1">
            <a:extLst>
              <a:ext uri="{FF2B5EF4-FFF2-40B4-BE49-F238E27FC236}">
                <a16:creationId xmlns:a16="http://schemas.microsoft.com/office/drawing/2014/main" xmlns="" id="{543D02BF-D139-924D-9792-878836A739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187" y="1248665"/>
            <a:ext cx="5918660" cy="1821130"/>
          </a:xfrm>
          <a:prstGeom prst="rect">
            <a:avLst/>
          </a:prstGeom>
        </p:spPr>
        <p:txBody>
          <a:bodyPr/>
          <a:lstStyle>
            <a:lvl1pPr>
              <a:lnSpc>
                <a:spcPts val="3996"/>
              </a:lnSpc>
              <a:defRPr sz="3996">
                <a:solidFill>
                  <a:schemeClr val="bg1"/>
                </a:solidFill>
              </a:defRPr>
            </a:lvl1pPr>
          </a:lstStyle>
          <a:p>
            <a:r>
              <a:rPr lang="es-ES" dirty="0"/>
              <a:t>Título portadilla</a:t>
            </a:r>
            <a:br>
              <a:rPr lang="es-ES" dirty="0"/>
            </a:br>
            <a:r>
              <a:rPr lang="es-ES" dirty="0"/>
              <a:t>Máximo 3 líneas</a:t>
            </a:r>
            <a:br>
              <a:rPr lang="es-ES" dirty="0"/>
            </a:br>
            <a:r>
              <a:rPr lang="es-ES" dirty="0"/>
              <a:t>Arial Bold – 40 puntos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890075156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Verde Portadilla capitulo c titulo y logo">
    <p:bg>
      <p:bgPr>
        <a:solidFill>
          <a:srgbClr val="F0B3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>
            <a:extLst>
              <a:ext uri="{FF2B5EF4-FFF2-40B4-BE49-F238E27FC236}">
                <a16:creationId xmlns:a16="http://schemas.microsoft.com/office/drawing/2014/main" xmlns="" id="{FEBAE79F-82DE-FA46-9E55-37BE80AA774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109" b="9220"/>
          <a:stretch/>
        </p:blipFill>
        <p:spPr>
          <a:xfrm>
            <a:off x="4" y="0"/>
            <a:ext cx="12207210" cy="6858000"/>
          </a:xfrm>
          <a:prstGeom prst="rect">
            <a:avLst/>
          </a:prstGeom>
        </p:spPr>
      </p:pic>
      <p:pic>
        <p:nvPicPr>
          <p:cNvPr id="2" name="Imagen 1">
            <a:extLst>
              <a:ext uri="{FF2B5EF4-FFF2-40B4-BE49-F238E27FC236}">
                <a16:creationId xmlns:a16="http://schemas.microsoft.com/office/drawing/2014/main" xmlns="" id="{D995375A-BF6D-374E-9047-693FB87BEE3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940072" y="452446"/>
            <a:ext cx="796330" cy="7962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2109610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Verde Portadilla capitulo c titulo y logo">
    <p:bg>
      <p:bgPr>
        <a:solidFill>
          <a:srgbClr val="F0B3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:a16="http://schemas.microsoft.com/office/drawing/2014/main" xmlns="" id="{8F4FC2CC-9110-8647-AB81-F21ACEBC811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245" b="3683"/>
          <a:stretch/>
        </p:blipFill>
        <p:spPr>
          <a:xfrm>
            <a:off x="0" y="0"/>
            <a:ext cx="12183832" cy="6858000"/>
          </a:xfrm>
          <a:prstGeom prst="rect">
            <a:avLst/>
          </a:prstGeom>
        </p:spPr>
      </p:pic>
      <p:pic>
        <p:nvPicPr>
          <p:cNvPr id="2" name="Imagen 1">
            <a:extLst>
              <a:ext uri="{FF2B5EF4-FFF2-40B4-BE49-F238E27FC236}">
                <a16:creationId xmlns:a16="http://schemas.microsoft.com/office/drawing/2014/main" xmlns="" id="{D995375A-BF6D-374E-9047-693FB87BEE3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940072" y="452446"/>
            <a:ext cx="796330" cy="796227"/>
          </a:xfrm>
          <a:prstGeom prst="rect">
            <a:avLst/>
          </a:prstGeom>
        </p:spPr>
      </p:pic>
      <p:sp>
        <p:nvSpPr>
          <p:cNvPr id="7" name="Título 1">
            <a:extLst>
              <a:ext uri="{FF2B5EF4-FFF2-40B4-BE49-F238E27FC236}">
                <a16:creationId xmlns:a16="http://schemas.microsoft.com/office/drawing/2014/main" xmlns="" id="{B7C81B1C-716A-524C-87BE-8235AA58EE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151" y="1268421"/>
            <a:ext cx="5918660" cy="2021853"/>
          </a:xfrm>
          <a:prstGeom prst="rect">
            <a:avLst/>
          </a:prstGeom>
        </p:spPr>
        <p:txBody>
          <a:bodyPr/>
          <a:lstStyle>
            <a:lvl1pPr>
              <a:lnSpc>
                <a:spcPts val="3996"/>
              </a:lnSpc>
              <a:defRPr sz="3996">
                <a:solidFill>
                  <a:schemeClr val="bg1"/>
                </a:solidFill>
                <a:highlight>
                  <a:srgbClr val="000000"/>
                </a:highlight>
              </a:defRPr>
            </a:lvl1pPr>
          </a:lstStyle>
          <a:p>
            <a:r>
              <a:rPr lang="es-ES" dirty="0"/>
              <a:t>Título portadilla</a:t>
            </a:r>
            <a:br>
              <a:rPr lang="es-ES" dirty="0"/>
            </a:br>
            <a:r>
              <a:rPr lang="es-ES" dirty="0"/>
              <a:t>Máximo 3 líneas</a:t>
            </a:r>
            <a:br>
              <a:rPr lang="es-ES" dirty="0"/>
            </a:br>
            <a:r>
              <a:rPr lang="es-ES" dirty="0"/>
              <a:t>Arial Bold – 40 puntos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942618409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ort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3 Objeto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5" y="0"/>
          <a:ext cx="21169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3623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5" y="0"/>
                        <a:ext cx="211695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Imagen 5" descr="Imagen que contiene nombre de la empresa&#10;&#10;Descripción generada automáticamente">
            <a:extLst>
              <a:ext uri="{FF2B5EF4-FFF2-40B4-BE49-F238E27FC236}">
                <a16:creationId xmlns:a16="http://schemas.microsoft.com/office/drawing/2014/main" xmlns="" id="{20A0342B-5805-5D44-B673-DB8532F5CEE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45063" y="2468884"/>
            <a:ext cx="2541827" cy="19202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656048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926" userDrawn="1">
          <p15:clr>
            <a:srgbClr val="FBAE40"/>
          </p15:clr>
        </p15:guide>
      </p15:sldGuideLst>
    </p:ext>
  </p:extLs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xmlns="" id="{C0B972A3-E7F3-0A4F-BEE6-2EE7AC84380C}"/>
              </a:ext>
            </a:extLst>
          </p:cNvPr>
          <p:cNvSpPr/>
          <p:nvPr userDrawn="1"/>
        </p:nvSpPr>
        <p:spPr>
          <a:xfrm>
            <a:off x="1" y="0"/>
            <a:ext cx="12193588" cy="6858000"/>
          </a:xfrm>
          <a:prstGeom prst="rect">
            <a:avLst/>
          </a:prstGeom>
          <a:solidFill>
            <a:srgbClr val="0D69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797" dirty="0"/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xmlns="" id="{18404275-C21C-B344-92AA-B363C5F8F24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4"/>
            <a:ext cx="523943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3630764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G:\Work\ACHS\138_Trailer ppts\03_EmergenciaEvacuación\imags\port01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88" y="0"/>
            <a:ext cx="12190413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 userDrawn="1"/>
        </p:nvSpPr>
        <p:spPr>
          <a:xfrm>
            <a:off x="2496863" y="0"/>
            <a:ext cx="7343860" cy="6858000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799" dirty="0">
              <a:solidFill>
                <a:prstClr val="white"/>
              </a:solidFill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4268362" y="1037715"/>
            <a:ext cx="3656867" cy="3997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L" sz="1998" dirty="0">
                <a:solidFill>
                  <a:prstClr val="white"/>
                </a:solidFill>
                <a:latin typeface="Tw Cen MT" pitchFamily="34" charset="0"/>
                <a:cs typeface="Arial" pitchFamily="34" charset="0"/>
              </a:rPr>
              <a:t>VIDEO: ¿QUÉ ES LA ACHS?</a:t>
            </a: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5665371" y="1628800"/>
            <a:ext cx="862848" cy="50044"/>
            <a:chOff x="5012716" y="1129776"/>
            <a:chExt cx="3148718" cy="103072"/>
          </a:xfrm>
        </p:grpSpPr>
        <p:sp>
          <p:nvSpPr>
            <p:cNvPr id="11" name="Rounded Rectangle 10"/>
            <p:cNvSpPr/>
            <p:nvPr/>
          </p:nvSpPr>
          <p:spPr>
            <a:xfrm>
              <a:off x="5012716" y="1129776"/>
              <a:ext cx="1623093" cy="103072"/>
            </a:xfrm>
            <a:prstGeom prst="roundRect">
              <a:avLst>
                <a:gd name="adj" fmla="val 5000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dirty="0">
                <a:solidFill>
                  <a:prstClr val="black">
                    <a:lumMod val="75000"/>
                    <a:lumOff val="25000"/>
                  </a:prstClr>
                </a:solidFill>
                <a:latin typeface="Tw Cen MT" pitchFamily="34" charset="0"/>
              </a:endParaRPr>
            </a:p>
          </p:txBody>
        </p:sp>
        <p:sp>
          <p:nvSpPr>
            <p:cNvPr id="12" name="Rounded Rectangle 11"/>
            <p:cNvSpPr/>
            <p:nvPr/>
          </p:nvSpPr>
          <p:spPr>
            <a:xfrm>
              <a:off x="6910165" y="1129776"/>
              <a:ext cx="660462" cy="103072"/>
            </a:xfrm>
            <a:prstGeom prst="roundRect">
              <a:avLst>
                <a:gd name="adj" fmla="val 50000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dirty="0">
                <a:solidFill>
                  <a:prstClr val="black">
                    <a:lumMod val="75000"/>
                    <a:lumOff val="25000"/>
                  </a:prstClr>
                </a:solidFill>
                <a:latin typeface="Tw Cen MT" pitchFamily="34" charset="0"/>
              </a:endParaRPr>
            </a:p>
          </p:txBody>
        </p:sp>
        <p:sp>
          <p:nvSpPr>
            <p:cNvPr id="13" name="Rounded Rectangle 12"/>
            <p:cNvSpPr/>
            <p:nvPr/>
          </p:nvSpPr>
          <p:spPr>
            <a:xfrm>
              <a:off x="7831205" y="1129776"/>
              <a:ext cx="330229" cy="103072"/>
            </a:xfrm>
            <a:prstGeom prst="roundRect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dirty="0">
                <a:solidFill>
                  <a:prstClr val="black">
                    <a:lumMod val="75000"/>
                    <a:lumOff val="25000"/>
                  </a:prstClr>
                </a:solidFill>
                <a:latin typeface="Tw Cen MT" pitchFamily="34" charset="0"/>
              </a:endParaRPr>
            </a:p>
          </p:txBody>
        </p:sp>
      </p:grpSp>
      <p:pic>
        <p:nvPicPr>
          <p:cNvPr id="14" name="Picture 2" descr="G:\Work\ACHS\Logos\log White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064379" y="301866"/>
            <a:ext cx="767936" cy="7483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868326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/>
    </p:bldLst>
  </p:timing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G:\Work\ACHS\138_Trailer ppts\03_EmergenciaEvacuación\imags\port01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4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88" y="0"/>
            <a:ext cx="12190413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/>
          <p:nvPr userDrawn="1"/>
        </p:nvSpPr>
        <p:spPr>
          <a:xfrm>
            <a:off x="4268362" y="1037715"/>
            <a:ext cx="3656867" cy="3997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L" sz="1998" dirty="0">
                <a:solidFill>
                  <a:prstClr val="white"/>
                </a:solidFill>
                <a:latin typeface="Tw Cen MT" pitchFamily="34" charset="0"/>
                <a:cs typeface="Arial" pitchFamily="34" charset="0"/>
              </a:rPr>
              <a:t>VIDEO: ¿QUÉ ES LA ACHS?</a:t>
            </a: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5665371" y="1628800"/>
            <a:ext cx="862848" cy="50044"/>
            <a:chOff x="5012716" y="1129776"/>
            <a:chExt cx="3148718" cy="103072"/>
          </a:xfrm>
        </p:grpSpPr>
        <p:sp>
          <p:nvSpPr>
            <p:cNvPr id="11" name="Rounded Rectangle 10"/>
            <p:cNvSpPr/>
            <p:nvPr/>
          </p:nvSpPr>
          <p:spPr>
            <a:xfrm>
              <a:off x="5012716" y="1129776"/>
              <a:ext cx="1623093" cy="103072"/>
            </a:xfrm>
            <a:prstGeom prst="roundRect">
              <a:avLst>
                <a:gd name="adj" fmla="val 5000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dirty="0">
                <a:solidFill>
                  <a:prstClr val="black">
                    <a:lumMod val="75000"/>
                    <a:lumOff val="25000"/>
                  </a:prstClr>
                </a:solidFill>
                <a:latin typeface="Tw Cen MT" pitchFamily="34" charset="0"/>
              </a:endParaRPr>
            </a:p>
          </p:txBody>
        </p:sp>
        <p:sp>
          <p:nvSpPr>
            <p:cNvPr id="12" name="Rounded Rectangle 11"/>
            <p:cNvSpPr/>
            <p:nvPr/>
          </p:nvSpPr>
          <p:spPr>
            <a:xfrm>
              <a:off x="6910165" y="1129776"/>
              <a:ext cx="660462" cy="103072"/>
            </a:xfrm>
            <a:prstGeom prst="roundRect">
              <a:avLst>
                <a:gd name="adj" fmla="val 50000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dirty="0">
                <a:solidFill>
                  <a:prstClr val="black">
                    <a:lumMod val="75000"/>
                    <a:lumOff val="25000"/>
                  </a:prstClr>
                </a:solidFill>
                <a:latin typeface="Tw Cen MT" pitchFamily="34" charset="0"/>
              </a:endParaRPr>
            </a:p>
          </p:txBody>
        </p:sp>
        <p:sp>
          <p:nvSpPr>
            <p:cNvPr id="13" name="Rounded Rectangle 12"/>
            <p:cNvSpPr/>
            <p:nvPr/>
          </p:nvSpPr>
          <p:spPr>
            <a:xfrm>
              <a:off x="7831205" y="1129776"/>
              <a:ext cx="330229" cy="103072"/>
            </a:xfrm>
            <a:prstGeom prst="roundRect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dirty="0">
                <a:solidFill>
                  <a:prstClr val="black">
                    <a:lumMod val="75000"/>
                    <a:lumOff val="25000"/>
                  </a:prstClr>
                </a:solidFill>
                <a:latin typeface="Tw Cen MT" pitchFamily="34" charset="0"/>
              </a:endParaRPr>
            </a:p>
          </p:txBody>
        </p:sp>
      </p:grpSp>
      <p:pic>
        <p:nvPicPr>
          <p:cNvPr id="14" name="Picture 2" descr="G:\Work\ACHS\Logos\log White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064379" y="301866"/>
            <a:ext cx="767936" cy="7483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 userDrawn="1"/>
        </p:nvSpPr>
        <p:spPr>
          <a:xfrm>
            <a:off x="-1247066" y="-171400"/>
            <a:ext cx="7343860" cy="7200800"/>
          </a:xfrm>
          <a:prstGeom prst="rect">
            <a:avLst/>
          </a:prstGeom>
          <a:blipFill>
            <a:blip r:embed="rId5"/>
            <a:stretch>
              <a:fillRect/>
            </a:stretch>
          </a:blip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799" dirty="0">
              <a:solidFill>
                <a:prstClr val="white"/>
              </a:solidFill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6096794" y="-171400"/>
            <a:ext cx="7343860" cy="7200800"/>
          </a:xfrm>
          <a:prstGeom prst="rect">
            <a:avLst/>
          </a:prstGeom>
          <a:blipFill>
            <a:blip r:embed="rId5"/>
            <a:stretch>
              <a:fillRect/>
            </a:stretch>
          </a:blip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799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61556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3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39495E-6 -3.7037E-7 L 0.2715 -0.00162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3568" y="-93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35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-0.25 0 E" pathEditMode="relative" ptsTypes="">
                                      <p:cBhvr>
                                        <p:cTn id="8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8" grpId="0" animBg="1"/>
      <p:bldP spid="15" grpId="0" animBg="1"/>
    </p:bldLst>
  </p:timing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00636714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0CCCE32A-0599-45EA-B81F-3A370EA4CA18}"/>
              </a:ext>
            </a:extLst>
          </p:cNvPr>
          <p:cNvSpPr/>
          <p:nvPr userDrawn="1"/>
        </p:nvSpPr>
        <p:spPr>
          <a:xfrm>
            <a:off x="1" y="0"/>
            <a:ext cx="12193588" cy="6858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 dirty="0">
              <a:solidFill>
                <a:prstClr val="white"/>
              </a:solidFill>
            </a:endParaRPr>
          </a:p>
        </p:txBody>
      </p:sp>
      <p:pic>
        <p:nvPicPr>
          <p:cNvPr id="3" name="Picture 2" descr="G:\Work\ACHS\Logos\log White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064379" y="301866"/>
            <a:ext cx="767936" cy="7483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550106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traFoto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0">
            <a:extLst>
              <a:ext uri="{FF2B5EF4-FFF2-40B4-BE49-F238E27FC236}">
                <a16:creationId xmlns:a16="http://schemas.microsoft.com/office/drawing/2014/main" xmlns="" id="{953188DC-3A67-40B2-849A-612769CB307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7104774" y="0"/>
            <a:ext cx="5088814" cy="6858000"/>
          </a:xfrm>
          <a:custGeom>
            <a:avLst/>
            <a:gdLst>
              <a:gd name="connsiteX0" fmla="*/ 0 w 6096000"/>
              <a:gd name="connsiteY0" fmla="*/ 0 h 6858000"/>
              <a:gd name="connsiteX1" fmla="*/ 6096000 w 6096000"/>
              <a:gd name="connsiteY1" fmla="*/ 0 h 6858000"/>
              <a:gd name="connsiteX2" fmla="*/ 6096000 w 6096000"/>
              <a:gd name="connsiteY2" fmla="*/ 6858000 h 6858000"/>
              <a:gd name="connsiteX3" fmla="*/ 0 w 6096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6096000" y="0"/>
                </a:ln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endParaRPr lang="en-US" dirty="0"/>
          </a:p>
        </p:txBody>
      </p:sp>
      <p:pic>
        <p:nvPicPr>
          <p:cNvPr id="3" name="Picture 2" descr="G:\Work\ACHS\Logos\log White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920702" y="448410"/>
            <a:ext cx="767936" cy="7483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574262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xmlns="" id="{EE570241-355A-A344-8F43-B9318B4E1C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DB3C94-6D56-164E-BA24-E6E2F14D2128}" type="datetimeFigureOut">
              <a:rPr lang="es-CL" smtClean="0"/>
              <a:t>04-02-2025</a:t>
            </a:fld>
            <a:endParaRPr lang="es-CL" dirty="0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xmlns="" id="{71C64B54-3E7A-B147-8BBB-269A294048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xmlns="" id="{8B20F085-45C2-DC48-B18A-B019E9B0D0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83AE60-A720-A443-B80B-BB7E1A5C8997}" type="slidenum">
              <a:rPr lang="es-CL" smtClean="0"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744642339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490" y="4406903"/>
            <a:ext cx="10365026" cy="1362075"/>
          </a:xfrm>
          <a:prstGeom prst="rect">
            <a:avLst/>
          </a:prstGeom>
        </p:spPr>
        <p:txBody>
          <a:bodyPr anchor="t"/>
          <a:lstStyle>
            <a:lvl1pPr algn="l">
              <a:defRPr sz="3998" b="1" cap="all"/>
            </a:lvl1pPr>
          </a:lstStyle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490" y="2906714"/>
            <a:ext cx="10365026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998">
                <a:solidFill>
                  <a:schemeClr val="tx1">
                    <a:tint val="75000"/>
                  </a:schemeClr>
                </a:solidFill>
              </a:defRPr>
            </a:lvl1pPr>
            <a:lvl2pPr marL="456956" indent="0">
              <a:buNone/>
              <a:defRPr sz="1799">
                <a:solidFill>
                  <a:schemeClr val="tx1">
                    <a:tint val="75000"/>
                  </a:schemeClr>
                </a:solidFill>
              </a:defRPr>
            </a:lvl2pPr>
            <a:lvl3pPr marL="91391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086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782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477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17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868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564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521" y="6356353"/>
            <a:ext cx="2846018" cy="365125"/>
          </a:xfrm>
          <a:prstGeom prst="rect">
            <a:avLst/>
          </a:prstGeom>
        </p:spPr>
        <p:txBody>
          <a:bodyPr/>
          <a:lstStyle/>
          <a:p>
            <a:fld id="{A4B5BA33-A585-40AB-949E-1242675F0AA5}" type="datetimeFigureOut">
              <a:rPr lang="es-CL" smtClean="0">
                <a:solidFill>
                  <a:prstClr val="black"/>
                </a:solidFill>
              </a:rPr>
              <a:pPr/>
              <a:t>04-02-2025</a:t>
            </a:fld>
            <a:endParaRPr lang="es-CL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6647" y="6356353"/>
            <a:ext cx="3860298" cy="365125"/>
          </a:xfrm>
          <a:prstGeom prst="rect">
            <a:avLst/>
          </a:prstGeom>
        </p:spPr>
        <p:txBody>
          <a:bodyPr/>
          <a:lstStyle/>
          <a:p>
            <a:endParaRPr lang="es-CL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8052" y="6356353"/>
            <a:ext cx="2846016" cy="365125"/>
          </a:xfrm>
          <a:prstGeom prst="rect">
            <a:avLst/>
          </a:prstGeom>
        </p:spPr>
        <p:txBody>
          <a:bodyPr/>
          <a:lstStyle/>
          <a:p>
            <a:fld id="{7B4E7E1F-514A-4F93-8638-CA992D3E2960}" type="slidenum">
              <a:rPr lang="es-CL" smtClean="0">
                <a:solidFill>
                  <a:prstClr val="black"/>
                </a:solidFill>
              </a:rPr>
              <a:pPr/>
              <a:t>‹Nº›</a:t>
            </a:fld>
            <a:endParaRPr lang="es-CL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9838525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522" y="274638"/>
            <a:ext cx="10974547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521" y="1600203"/>
            <a:ext cx="5411083" cy="4525963"/>
          </a:xfrm>
          <a:prstGeom prst="rect">
            <a:avLst/>
          </a:prstGeom>
        </p:spPr>
        <p:txBody>
          <a:bodyPr/>
          <a:lstStyle>
            <a:lvl1pPr>
              <a:defRPr sz="2798"/>
            </a:lvl1pPr>
            <a:lvl2pPr>
              <a:defRPr sz="2398"/>
            </a:lvl2pPr>
            <a:lvl3pPr>
              <a:defRPr sz="1998"/>
            </a:lvl3pPr>
            <a:lvl4pPr>
              <a:defRPr sz="1799"/>
            </a:lvl4pPr>
            <a:lvl5pPr>
              <a:defRPr sz="1799"/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985" y="1600203"/>
            <a:ext cx="5411083" cy="4525963"/>
          </a:xfrm>
          <a:prstGeom prst="rect">
            <a:avLst/>
          </a:prstGeom>
        </p:spPr>
        <p:txBody>
          <a:bodyPr/>
          <a:lstStyle>
            <a:lvl1pPr>
              <a:defRPr sz="2798"/>
            </a:lvl1pPr>
            <a:lvl2pPr>
              <a:defRPr sz="2398"/>
            </a:lvl2pPr>
            <a:lvl3pPr>
              <a:defRPr sz="1998"/>
            </a:lvl3pPr>
            <a:lvl4pPr>
              <a:defRPr sz="1799"/>
            </a:lvl4pPr>
            <a:lvl5pPr>
              <a:defRPr sz="1799"/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09521" y="6356353"/>
            <a:ext cx="2846018" cy="365125"/>
          </a:xfrm>
          <a:prstGeom prst="rect">
            <a:avLst/>
          </a:prstGeom>
        </p:spPr>
        <p:txBody>
          <a:bodyPr/>
          <a:lstStyle/>
          <a:p>
            <a:fld id="{A4B5BA33-A585-40AB-949E-1242675F0AA5}" type="datetimeFigureOut">
              <a:rPr lang="es-CL" smtClean="0">
                <a:solidFill>
                  <a:prstClr val="black"/>
                </a:solidFill>
              </a:rPr>
              <a:pPr/>
              <a:t>04-02-2025</a:t>
            </a:fld>
            <a:endParaRPr lang="es-CL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66647" y="6356353"/>
            <a:ext cx="3860298" cy="365125"/>
          </a:xfrm>
          <a:prstGeom prst="rect">
            <a:avLst/>
          </a:prstGeom>
        </p:spPr>
        <p:txBody>
          <a:bodyPr/>
          <a:lstStyle/>
          <a:p>
            <a:endParaRPr lang="es-CL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38052" y="6356353"/>
            <a:ext cx="2846016" cy="365125"/>
          </a:xfrm>
          <a:prstGeom prst="rect">
            <a:avLst/>
          </a:prstGeom>
        </p:spPr>
        <p:txBody>
          <a:bodyPr/>
          <a:lstStyle/>
          <a:p>
            <a:fld id="{7B4E7E1F-514A-4F93-8638-CA992D3E2960}" type="slidenum">
              <a:rPr lang="es-CL" smtClean="0">
                <a:solidFill>
                  <a:prstClr val="black"/>
                </a:solidFill>
              </a:rPr>
              <a:pPr/>
              <a:t>‹Nº›</a:t>
            </a:fld>
            <a:endParaRPr lang="es-CL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5554033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522" y="274638"/>
            <a:ext cx="10974547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522" y="1535113"/>
            <a:ext cx="5387274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398" b="1"/>
            </a:lvl1pPr>
            <a:lvl2pPr marL="456956" indent="0">
              <a:buNone/>
              <a:defRPr sz="1998" b="1"/>
            </a:lvl2pPr>
            <a:lvl3pPr marL="913911" indent="0">
              <a:buNone/>
              <a:defRPr sz="1799" b="1"/>
            </a:lvl3pPr>
            <a:lvl4pPr marL="1370867" indent="0">
              <a:buNone/>
              <a:defRPr sz="1600" b="1"/>
            </a:lvl4pPr>
            <a:lvl5pPr marL="1827822" indent="0">
              <a:buNone/>
              <a:defRPr sz="1600" b="1"/>
            </a:lvl5pPr>
            <a:lvl6pPr marL="2284777" indent="0">
              <a:buNone/>
              <a:defRPr sz="1600" b="1"/>
            </a:lvl6pPr>
            <a:lvl7pPr marL="2741733" indent="0">
              <a:buNone/>
              <a:defRPr sz="1600" b="1"/>
            </a:lvl7pPr>
            <a:lvl8pPr marL="3198689" indent="0">
              <a:buNone/>
              <a:defRPr sz="1600" b="1"/>
            </a:lvl8pPr>
            <a:lvl9pPr marL="3655644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522" y="2174875"/>
            <a:ext cx="5387274" cy="3951288"/>
          </a:xfrm>
          <a:prstGeom prst="rect">
            <a:avLst/>
          </a:prstGeom>
        </p:spPr>
        <p:txBody>
          <a:bodyPr/>
          <a:lstStyle>
            <a:lvl1pPr>
              <a:defRPr sz="2398"/>
            </a:lvl1pPr>
            <a:lvl2pPr>
              <a:defRPr sz="1998"/>
            </a:lvl2pPr>
            <a:lvl3pPr>
              <a:defRPr sz="1799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619" y="1535113"/>
            <a:ext cx="539044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398" b="1"/>
            </a:lvl1pPr>
            <a:lvl2pPr marL="456956" indent="0">
              <a:buNone/>
              <a:defRPr sz="1998" b="1"/>
            </a:lvl2pPr>
            <a:lvl3pPr marL="913911" indent="0">
              <a:buNone/>
              <a:defRPr sz="1799" b="1"/>
            </a:lvl3pPr>
            <a:lvl4pPr marL="1370867" indent="0">
              <a:buNone/>
              <a:defRPr sz="1600" b="1"/>
            </a:lvl4pPr>
            <a:lvl5pPr marL="1827822" indent="0">
              <a:buNone/>
              <a:defRPr sz="1600" b="1"/>
            </a:lvl5pPr>
            <a:lvl6pPr marL="2284777" indent="0">
              <a:buNone/>
              <a:defRPr sz="1600" b="1"/>
            </a:lvl6pPr>
            <a:lvl7pPr marL="2741733" indent="0">
              <a:buNone/>
              <a:defRPr sz="1600" b="1"/>
            </a:lvl7pPr>
            <a:lvl8pPr marL="3198689" indent="0">
              <a:buNone/>
              <a:defRPr sz="1600" b="1"/>
            </a:lvl8pPr>
            <a:lvl9pPr marL="3655644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619" y="2174875"/>
            <a:ext cx="5390448" cy="3951288"/>
          </a:xfrm>
          <a:prstGeom prst="rect">
            <a:avLst/>
          </a:prstGeom>
        </p:spPr>
        <p:txBody>
          <a:bodyPr/>
          <a:lstStyle>
            <a:lvl1pPr>
              <a:defRPr sz="2398"/>
            </a:lvl1pPr>
            <a:lvl2pPr>
              <a:defRPr sz="1998"/>
            </a:lvl2pPr>
            <a:lvl3pPr>
              <a:defRPr sz="1799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609521" y="6356353"/>
            <a:ext cx="2846018" cy="365125"/>
          </a:xfrm>
          <a:prstGeom prst="rect">
            <a:avLst/>
          </a:prstGeom>
        </p:spPr>
        <p:txBody>
          <a:bodyPr/>
          <a:lstStyle/>
          <a:p>
            <a:fld id="{A4B5BA33-A585-40AB-949E-1242675F0AA5}" type="datetimeFigureOut">
              <a:rPr lang="es-CL" smtClean="0">
                <a:solidFill>
                  <a:prstClr val="black"/>
                </a:solidFill>
              </a:rPr>
              <a:pPr/>
              <a:t>04-02-2025</a:t>
            </a:fld>
            <a:endParaRPr lang="es-CL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166647" y="6356353"/>
            <a:ext cx="3860298" cy="365125"/>
          </a:xfrm>
          <a:prstGeom prst="rect">
            <a:avLst/>
          </a:prstGeom>
        </p:spPr>
        <p:txBody>
          <a:bodyPr/>
          <a:lstStyle/>
          <a:p>
            <a:endParaRPr lang="es-CL"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738052" y="6356353"/>
            <a:ext cx="2846016" cy="365125"/>
          </a:xfrm>
          <a:prstGeom prst="rect">
            <a:avLst/>
          </a:prstGeom>
        </p:spPr>
        <p:txBody>
          <a:bodyPr/>
          <a:lstStyle/>
          <a:p>
            <a:fld id="{7B4E7E1F-514A-4F93-8638-CA992D3E2960}" type="slidenum">
              <a:rPr lang="es-CL" smtClean="0">
                <a:solidFill>
                  <a:prstClr val="black"/>
                </a:solidFill>
              </a:rPr>
              <a:pPr/>
              <a:t>‹Nº›</a:t>
            </a:fld>
            <a:endParaRPr lang="es-CL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9028831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522" y="274638"/>
            <a:ext cx="10974547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09521" y="6356353"/>
            <a:ext cx="2846018" cy="365125"/>
          </a:xfrm>
          <a:prstGeom prst="rect">
            <a:avLst/>
          </a:prstGeom>
        </p:spPr>
        <p:txBody>
          <a:bodyPr/>
          <a:lstStyle/>
          <a:p>
            <a:fld id="{A4B5BA33-A585-40AB-949E-1242675F0AA5}" type="datetimeFigureOut">
              <a:rPr lang="es-CL" smtClean="0">
                <a:solidFill>
                  <a:prstClr val="black"/>
                </a:solidFill>
              </a:rPr>
              <a:pPr/>
              <a:t>04-02-2025</a:t>
            </a:fld>
            <a:endParaRPr lang="es-CL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166647" y="6356353"/>
            <a:ext cx="3860298" cy="365125"/>
          </a:xfrm>
          <a:prstGeom prst="rect">
            <a:avLst/>
          </a:prstGeom>
        </p:spPr>
        <p:txBody>
          <a:bodyPr/>
          <a:lstStyle/>
          <a:p>
            <a:endParaRPr lang="es-CL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38052" y="6356353"/>
            <a:ext cx="2846016" cy="365125"/>
          </a:xfrm>
          <a:prstGeom prst="rect">
            <a:avLst/>
          </a:prstGeom>
        </p:spPr>
        <p:txBody>
          <a:bodyPr/>
          <a:lstStyle/>
          <a:p>
            <a:fld id="{7B4E7E1F-514A-4F93-8638-CA992D3E2960}" type="slidenum">
              <a:rPr lang="es-CL" smtClean="0">
                <a:solidFill>
                  <a:prstClr val="black"/>
                </a:solidFill>
              </a:rPr>
              <a:pPr/>
              <a:t>‹Nº›</a:t>
            </a:fld>
            <a:endParaRPr lang="es-CL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2065484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09521" y="6356353"/>
            <a:ext cx="2846018" cy="365125"/>
          </a:xfrm>
          <a:prstGeom prst="rect">
            <a:avLst/>
          </a:prstGeom>
        </p:spPr>
        <p:txBody>
          <a:bodyPr/>
          <a:lstStyle/>
          <a:p>
            <a:fld id="{A4B5BA33-A585-40AB-949E-1242675F0AA5}" type="datetimeFigureOut">
              <a:rPr lang="es-CL" smtClean="0">
                <a:solidFill>
                  <a:prstClr val="black"/>
                </a:solidFill>
              </a:rPr>
              <a:pPr/>
              <a:t>04-02-2025</a:t>
            </a:fld>
            <a:endParaRPr lang="es-CL" dirty="0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166647" y="6356353"/>
            <a:ext cx="3860298" cy="365125"/>
          </a:xfrm>
          <a:prstGeom prst="rect">
            <a:avLst/>
          </a:prstGeom>
        </p:spPr>
        <p:txBody>
          <a:bodyPr/>
          <a:lstStyle/>
          <a:p>
            <a:endParaRPr lang="es-CL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738052" y="6356353"/>
            <a:ext cx="2846016" cy="365125"/>
          </a:xfrm>
          <a:prstGeom prst="rect">
            <a:avLst/>
          </a:prstGeom>
        </p:spPr>
        <p:txBody>
          <a:bodyPr/>
          <a:lstStyle/>
          <a:p>
            <a:fld id="{7B4E7E1F-514A-4F93-8638-CA992D3E2960}" type="slidenum">
              <a:rPr lang="es-CL" smtClean="0">
                <a:solidFill>
                  <a:prstClr val="black"/>
                </a:solidFill>
              </a:rPr>
              <a:pPr/>
              <a:t>‹Nº›</a:t>
            </a:fld>
            <a:endParaRPr lang="es-CL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3950643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523" y="273050"/>
            <a:ext cx="4011091" cy="1162050"/>
          </a:xfrm>
          <a:prstGeom prst="rect">
            <a:avLst/>
          </a:prstGeom>
        </p:spPr>
        <p:txBody>
          <a:bodyPr anchor="b"/>
          <a:lstStyle>
            <a:lvl1pPr algn="l">
              <a:defRPr sz="1998" b="1"/>
            </a:lvl1pPr>
          </a:lstStyle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644" y="273053"/>
            <a:ext cx="6817425" cy="5853113"/>
          </a:xfrm>
          <a:prstGeom prst="rect">
            <a:avLst/>
          </a:prstGeom>
        </p:spPr>
        <p:txBody>
          <a:bodyPr/>
          <a:lstStyle>
            <a:lvl1pPr>
              <a:defRPr sz="3198"/>
            </a:lvl1pPr>
            <a:lvl2pPr>
              <a:defRPr sz="2798"/>
            </a:lvl2pPr>
            <a:lvl3pPr>
              <a:defRPr sz="2398"/>
            </a:lvl3pPr>
            <a:lvl4pPr>
              <a:defRPr sz="1998"/>
            </a:lvl4pPr>
            <a:lvl5pPr>
              <a:defRPr sz="1998"/>
            </a:lvl5pPr>
            <a:lvl6pPr>
              <a:defRPr sz="1998"/>
            </a:lvl6pPr>
            <a:lvl7pPr>
              <a:defRPr sz="1998"/>
            </a:lvl7pPr>
            <a:lvl8pPr>
              <a:defRPr sz="1998"/>
            </a:lvl8pPr>
            <a:lvl9pPr>
              <a:defRPr sz="1998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523" y="1435102"/>
            <a:ext cx="4011091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6956" indent="0">
              <a:buNone/>
              <a:defRPr sz="1200"/>
            </a:lvl2pPr>
            <a:lvl3pPr marL="913911" indent="0">
              <a:buNone/>
              <a:defRPr sz="1000"/>
            </a:lvl3pPr>
            <a:lvl4pPr marL="1370867" indent="0">
              <a:buNone/>
              <a:defRPr sz="900"/>
            </a:lvl4pPr>
            <a:lvl5pPr marL="1827822" indent="0">
              <a:buNone/>
              <a:defRPr sz="900"/>
            </a:lvl5pPr>
            <a:lvl6pPr marL="2284777" indent="0">
              <a:buNone/>
              <a:defRPr sz="900"/>
            </a:lvl6pPr>
            <a:lvl7pPr marL="2741733" indent="0">
              <a:buNone/>
              <a:defRPr sz="900"/>
            </a:lvl7pPr>
            <a:lvl8pPr marL="3198689" indent="0">
              <a:buNone/>
              <a:defRPr sz="900"/>
            </a:lvl8pPr>
            <a:lvl9pPr marL="3655644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09521" y="6356353"/>
            <a:ext cx="2846018" cy="365125"/>
          </a:xfrm>
          <a:prstGeom prst="rect">
            <a:avLst/>
          </a:prstGeom>
        </p:spPr>
        <p:txBody>
          <a:bodyPr/>
          <a:lstStyle/>
          <a:p>
            <a:fld id="{A4B5BA33-A585-40AB-949E-1242675F0AA5}" type="datetimeFigureOut">
              <a:rPr lang="es-CL" smtClean="0">
                <a:solidFill>
                  <a:prstClr val="black"/>
                </a:solidFill>
              </a:rPr>
              <a:pPr/>
              <a:t>04-02-2025</a:t>
            </a:fld>
            <a:endParaRPr lang="es-CL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66647" y="6356353"/>
            <a:ext cx="3860298" cy="365125"/>
          </a:xfrm>
          <a:prstGeom prst="rect">
            <a:avLst/>
          </a:prstGeom>
        </p:spPr>
        <p:txBody>
          <a:bodyPr/>
          <a:lstStyle/>
          <a:p>
            <a:endParaRPr lang="es-CL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38052" y="6356353"/>
            <a:ext cx="2846016" cy="365125"/>
          </a:xfrm>
          <a:prstGeom prst="rect">
            <a:avLst/>
          </a:prstGeom>
        </p:spPr>
        <p:txBody>
          <a:bodyPr/>
          <a:lstStyle/>
          <a:p>
            <a:fld id="{7B4E7E1F-514A-4F93-8638-CA992D3E2960}" type="slidenum">
              <a:rPr lang="es-CL" smtClean="0">
                <a:solidFill>
                  <a:prstClr val="black"/>
                </a:solidFill>
              </a:rPr>
              <a:pPr/>
              <a:t>‹Nº›</a:t>
            </a:fld>
            <a:endParaRPr lang="es-CL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6622327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90465" y="4800600"/>
            <a:ext cx="7315836" cy="566738"/>
          </a:xfrm>
          <a:prstGeom prst="rect">
            <a:avLst/>
          </a:prstGeom>
        </p:spPr>
        <p:txBody>
          <a:bodyPr anchor="b"/>
          <a:lstStyle>
            <a:lvl1pPr algn="l">
              <a:defRPr sz="1998" b="1"/>
            </a:lvl1pPr>
          </a:lstStyle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90465" y="612775"/>
            <a:ext cx="7315836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98"/>
            </a:lvl1pPr>
            <a:lvl2pPr marL="456956" indent="0">
              <a:buNone/>
              <a:defRPr sz="2798"/>
            </a:lvl2pPr>
            <a:lvl3pPr marL="913911" indent="0">
              <a:buNone/>
              <a:defRPr sz="2398"/>
            </a:lvl3pPr>
            <a:lvl4pPr marL="1370867" indent="0">
              <a:buNone/>
              <a:defRPr sz="1998"/>
            </a:lvl4pPr>
            <a:lvl5pPr marL="1827822" indent="0">
              <a:buNone/>
              <a:defRPr sz="1998"/>
            </a:lvl5pPr>
            <a:lvl6pPr marL="2284777" indent="0">
              <a:buNone/>
              <a:defRPr sz="1998"/>
            </a:lvl6pPr>
            <a:lvl7pPr marL="2741733" indent="0">
              <a:buNone/>
              <a:defRPr sz="1998"/>
            </a:lvl7pPr>
            <a:lvl8pPr marL="3198689" indent="0">
              <a:buNone/>
              <a:defRPr sz="1998"/>
            </a:lvl8pPr>
            <a:lvl9pPr marL="3655644" indent="0">
              <a:buNone/>
              <a:defRPr sz="1998"/>
            </a:lvl9pPr>
          </a:lstStyle>
          <a:p>
            <a:endParaRPr lang="es-CL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90465" y="5367338"/>
            <a:ext cx="7315836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6956" indent="0">
              <a:buNone/>
              <a:defRPr sz="1200"/>
            </a:lvl2pPr>
            <a:lvl3pPr marL="913911" indent="0">
              <a:buNone/>
              <a:defRPr sz="1000"/>
            </a:lvl3pPr>
            <a:lvl4pPr marL="1370867" indent="0">
              <a:buNone/>
              <a:defRPr sz="900"/>
            </a:lvl4pPr>
            <a:lvl5pPr marL="1827822" indent="0">
              <a:buNone/>
              <a:defRPr sz="900"/>
            </a:lvl5pPr>
            <a:lvl6pPr marL="2284777" indent="0">
              <a:buNone/>
              <a:defRPr sz="900"/>
            </a:lvl6pPr>
            <a:lvl7pPr marL="2741733" indent="0">
              <a:buNone/>
              <a:defRPr sz="900"/>
            </a:lvl7pPr>
            <a:lvl8pPr marL="3198689" indent="0">
              <a:buNone/>
              <a:defRPr sz="900"/>
            </a:lvl8pPr>
            <a:lvl9pPr marL="3655644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09521" y="6356353"/>
            <a:ext cx="2846018" cy="365125"/>
          </a:xfrm>
          <a:prstGeom prst="rect">
            <a:avLst/>
          </a:prstGeom>
        </p:spPr>
        <p:txBody>
          <a:bodyPr/>
          <a:lstStyle/>
          <a:p>
            <a:fld id="{A4B5BA33-A585-40AB-949E-1242675F0AA5}" type="datetimeFigureOut">
              <a:rPr lang="es-CL" smtClean="0">
                <a:solidFill>
                  <a:prstClr val="black"/>
                </a:solidFill>
              </a:rPr>
              <a:pPr/>
              <a:t>04-02-2025</a:t>
            </a:fld>
            <a:endParaRPr lang="es-CL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66647" y="6356353"/>
            <a:ext cx="3860298" cy="365125"/>
          </a:xfrm>
          <a:prstGeom prst="rect">
            <a:avLst/>
          </a:prstGeom>
        </p:spPr>
        <p:txBody>
          <a:bodyPr/>
          <a:lstStyle/>
          <a:p>
            <a:endParaRPr lang="es-CL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38052" y="6356353"/>
            <a:ext cx="2846016" cy="365125"/>
          </a:xfrm>
          <a:prstGeom prst="rect">
            <a:avLst/>
          </a:prstGeom>
        </p:spPr>
        <p:txBody>
          <a:bodyPr/>
          <a:lstStyle/>
          <a:p>
            <a:fld id="{7B4E7E1F-514A-4F93-8638-CA992D3E2960}" type="slidenum">
              <a:rPr lang="es-CL" smtClean="0">
                <a:solidFill>
                  <a:prstClr val="black"/>
                </a:solidFill>
              </a:rPr>
              <a:pPr/>
              <a:t>‹Nº›</a:t>
            </a:fld>
            <a:endParaRPr lang="es-CL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3939611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522" y="274638"/>
            <a:ext cx="10974547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522" y="1600203"/>
            <a:ext cx="10974547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521" y="6356353"/>
            <a:ext cx="2846018" cy="365125"/>
          </a:xfrm>
          <a:prstGeom prst="rect">
            <a:avLst/>
          </a:prstGeom>
        </p:spPr>
        <p:txBody>
          <a:bodyPr/>
          <a:lstStyle/>
          <a:p>
            <a:fld id="{A4B5BA33-A585-40AB-949E-1242675F0AA5}" type="datetimeFigureOut">
              <a:rPr lang="es-CL" smtClean="0">
                <a:solidFill>
                  <a:prstClr val="black"/>
                </a:solidFill>
              </a:rPr>
              <a:pPr/>
              <a:t>04-02-2025</a:t>
            </a:fld>
            <a:endParaRPr lang="es-CL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6647" y="6356353"/>
            <a:ext cx="3860298" cy="365125"/>
          </a:xfrm>
          <a:prstGeom prst="rect">
            <a:avLst/>
          </a:prstGeom>
        </p:spPr>
        <p:txBody>
          <a:bodyPr/>
          <a:lstStyle/>
          <a:p>
            <a:endParaRPr lang="es-CL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8052" y="6356353"/>
            <a:ext cx="2846016" cy="365125"/>
          </a:xfrm>
          <a:prstGeom prst="rect">
            <a:avLst/>
          </a:prstGeom>
        </p:spPr>
        <p:txBody>
          <a:bodyPr/>
          <a:lstStyle/>
          <a:p>
            <a:fld id="{7B4E7E1F-514A-4F93-8638-CA992D3E2960}" type="slidenum">
              <a:rPr lang="es-CL" smtClean="0">
                <a:solidFill>
                  <a:prstClr val="black"/>
                </a:solidFill>
              </a:rPr>
              <a:pPr/>
              <a:t>‹Nº›</a:t>
            </a:fld>
            <a:endParaRPr lang="es-CL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6185668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41224" y="274641"/>
            <a:ext cx="2742843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523" y="274641"/>
            <a:ext cx="8079323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521" y="6356353"/>
            <a:ext cx="2846018" cy="365125"/>
          </a:xfrm>
          <a:prstGeom prst="rect">
            <a:avLst/>
          </a:prstGeom>
        </p:spPr>
        <p:txBody>
          <a:bodyPr/>
          <a:lstStyle/>
          <a:p>
            <a:fld id="{A4B5BA33-A585-40AB-949E-1242675F0AA5}" type="datetimeFigureOut">
              <a:rPr lang="es-CL" smtClean="0">
                <a:solidFill>
                  <a:prstClr val="black"/>
                </a:solidFill>
              </a:rPr>
              <a:pPr/>
              <a:t>04-02-2025</a:t>
            </a:fld>
            <a:endParaRPr lang="es-CL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6647" y="6356353"/>
            <a:ext cx="3860298" cy="365125"/>
          </a:xfrm>
          <a:prstGeom prst="rect">
            <a:avLst/>
          </a:prstGeom>
        </p:spPr>
        <p:txBody>
          <a:bodyPr/>
          <a:lstStyle/>
          <a:p>
            <a:endParaRPr lang="es-CL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8052" y="6356353"/>
            <a:ext cx="2846016" cy="365125"/>
          </a:xfrm>
          <a:prstGeom prst="rect">
            <a:avLst/>
          </a:prstGeom>
        </p:spPr>
        <p:txBody>
          <a:bodyPr/>
          <a:lstStyle/>
          <a:p>
            <a:fld id="{7B4E7E1F-514A-4F93-8638-CA992D3E2960}" type="slidenum">
              <a:rPr lang="es-CL" smtClean="0">
                <a:solidFill>
                  <a:prstClr val="black"/>
                </a:solidFill>
              </a:rPr>
              <a:pPr/>
              <a:t>‹Nº›</a:t>
            </a:fld>
            <a:endParaRPr lang="es-CL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8478237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0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48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Marcador de texto 7">
            <a:extLst>
              <a:ext uri="{FF2B5EF4-FFF2-40B4-BE49-F238E27FC236}">
                <a16:creationId xmlns:a16="http://schemas.microsoft.com/office/drawing/2014/main" xmlns="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76576" y="4302040"/>
            <a:ext cx="5371506" cy="5043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5</a:t>
            </a:r>
            <a:endParaRPr lang="es-CL" dirty="0"/>
          </a:p>
        </p:txBody>
      </p:sp>
      <p:sp>
        <p:nvSpPr>
          <p:cNvPr id="10" name="Marcador de texto 7">
            <a:extLst>
              <a:ext uri="{FF2B5EF4-FFF2-40B4-BE49-F238E27FC236}">
                <a16:creationId xmlns:a16="http://schemas.microsoft.com/office/drawing/2014/main" xmlns="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85427" y="2762488"/>
            <a:ext cx="5362655" cy="130036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30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resentación Máximo 3 líneas Arial </a:t>
            </a:r>
            <a:r>
              <a:rPr lang="es-ES" dirty="0" err="1"/>
              <a:t>bold</a:t>
            </a:r>
            <a:r>
              <a:rPr lang="es-ES" dirty="0"/>
              <a:t>- 30 puntos</a:t>
            </a:r>
            <a:endParaRPr lang="es-CL" dirty="0"/>
          </a:p>
        </p:txBody>
      </p:sp>
      <p:sp>
        <p:nvSpPr>
          <p:cNvPr id="11" name="Marcador de texto 7">
            <a:extLst>
              <a:ext uri="{FF2B5EF4-FFF2-40B4-BE49-F238E27FC236}">
                <a16:creationId xmlns:a16="http://schemas.microsoft.com/office/drawing/2014/main" xmlns="" id="{7158EF60-E659-4F3D-DDFF-B4430EFEAEC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585427" y="2291215"/>
            <a:ext cx="874337" cy="25190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Fecha</a:t>
            </a:r>
            <a:endParaRPr lang="es-CL" dirty="0"/>
          </a:p>
        </p:txBody>
      </p:sp>
      <p:pic>
        <p:nvPicPr>
          <p:cNvPr id="9" name="Gráfico 2">
            <a:extLst>
              <a:ext uri="{FF2B5EF4-FFF2-40B4-BE49-F238E27FC236}">
                <a16:creationId xmlns="" xmlns:a16="http://schemas.microsoft.com/office/drawing/2014/main" id="{8066F590-0543-6B5C-7B40-D3EBC4B4162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204117" y="2543117"/>
            <a:ext cx="3713048" cy="1536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50573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6584">
          <p15:clr>
            <a:srgbClr val="FBAE40"/>
          </p15:clr>
        </p15:guide>
        <p15:guide id="2" pos="3597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41B4263E-BE80-E442-93F6-0AB0BCAB5C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902" y="457201"/>
            <a:ext cx="3932749" cy="1600200"/>
          </a:xfrm>
        </p:spPr>
        <p:txBody>
          <a:bodyPr anchor="b"/>
          <a:lstStyle>
            <a:lvl1pPr>
              <a:defRPr sz="3196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xmlns="" id="{848DC82D-A5D1-C84D-AF8B-BAEEA0AB83F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866" y="987433"/>
            <a:ext cx="6173004" cy="4873625"/>
          </a:xfrm>
        </p:spPr>
        <p:txBody>
          <a:bodyPr/>
          <a:lstStyle>
            <a:lvl1pPr>
              <a:defRPr sz="3196"/>
            </a:lvl1pPr>
            <a:lvl2pPr>
              <a:defRPr sz="2796"/>
            </a:lvl2pPr>
            <a:lvl3pPr>
              <a:defRPr sz="2396"/>
            </a:lvl3pPr>
            <a:lvl4pPr>
              <a:defRPr sz="1996"/>
            </a:lvl4pPr>
            <a:lvl5pPr>
              <a:defRPr sz="1996"/>
            </a:lvl5pPr>
            <a:lvl6pPr>
              <a:defRPr sz="1996"/>
            </a:lvl6pPr>
            <a:lvl7pPr>
              <a:defRPr sz="1996"/>
            </a:lvl7pPr>
            <a:lvl8pPr>
              <a:defRPr sz="1996"/>
            </a:lvl8pPr>
            <a:lvl9pPr>
              <a:defRPr sz="1996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xmlns="" id="{5C49CC57-C6A1-D54E-8A61-96C007D20E8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902" y="2057401"/>
            <a:ext cx="3932749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6682" indent="0">
              <a:buNone/>
              <a:defRPr sz="1400"/>
            </a:lvl2pPr>
            <a:lvl3pPr marL="913363" indent="0">
              <a:buNone/>
              <a:defRPr sz="1200"/>
            </a:lvl3pPr>
            <a:lvl4pPr marL="1370046" indent="0">
              <a:buNone/>
              <a:defRPr sz="1000"/>
            </a:lvl4pPr>
            <a:lvl5pPr marL="1826726" indent="0">
              <a:buNone/>
              <a:defRPr sz="1000"/>
            </a:lvl5pPr>
            <a:lvl6pPr marL="2283407" indent="0">
              <a:buNone/>
              <a:defRPr sz="1000"/>
            </a:lvl6pPr>
            <a:lvl7pPr marL="2740089" indent="0">
              <a:buNone/>
              <a:defRPr sz="1000"/>
            </a:lvl7pPr>
            <a:lvl8pPr marL="3196769" indent="0">
              <a:buNone/>
              <a:defRPr sz="1000"/>
            </a:lvl8pPr>
            <a:lvl9pPr marL="3653451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xmlns="" id="{EA9FC915-FFA2-F144-88CF-B754E538C9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DB3C94-6D56-164E-BA24-E6E2F14D2128}" type="datetimeFigureOut">
              <a:rPr lang="es-CL" smtClean="0"/>
              <a:t>04-02-2025</a:t>
            </a:fld>
            <a:endParaRPr lang="es-CL" dirty="0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xmlns="" id="{9DE79E84-07C5-754E-AE37-00592C89C5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xmlns="" id="{B4FD8097-72D1-A949-B948-F26A7564C8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83AE60-A720-A443-B80B-BB7E1A5C8997}" type="slidenum">
              <a:rPr lang="es-CL" smtClean="0"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018108579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472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Marcador de texto 7">
            <a:extLst>
              <a:ext uri="{FF2B5EF4-FFF2-40B4-BE49-F238E27FC236}">
                <a16:creationId xmlns:a16="http://schemas.microsoft.com/office/drawing/2014/main" xmlns="" id="{BF82C2D2-470B-340E-2C53-AE2D8419821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76576" y="4302040"/>
            <a:ext cx="5371506" cy="5043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5</a:t>
            </a:r>
            <a:endParaRPr lang="es-CL" dirty="0"/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xmlns="" id="{871C39F7-EBC2-2D1D-3771-B165ED50215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85427" y="2762488"/>
            <a:ext cx="5362655" cy="130036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30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resentación Máximo 3 líneas Arial </a:t>
            </a:r>
            <a:r>
              <a:rPr lang="es-ES" dirty="0" err="1"/>
              <a:t>bold</a:t>
            </a:r>
            <a:r>
              <a:rPr lang="es-ES" dirty="0"/>
              <a:t>- 30 puntos</a:t>
            </a:r>
            <a:endParaRPr lang="es-CL" dirty="0"/>
          </a:p>
        </p:txBody>
      </p:sp>
      <p:pic>
        <p:nvPicPr>
          <p:cNvPr id="6" name="Gráfico 2">
            <a:extLst>
              <a:ext uri="{FF2B5EF4-FFF2-40B4-BE49-F238E27FC236}">
                <a16:creationId xmlns="" xmlns:a16="http://schemas.microsoft.com/office/drawing/2014/main" id="{8066F590-0543-6B5C-7B40-D3EBC4B4162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204117" y="2543117"/>
            <a:ext cx="3713048" cy="1536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08232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6584">
          <p15:clr>
            <a:srgbClr val="FBAE40"/>
          </p15:clr>
        </p15:guide>
        <p15:guide id="2" pos="3597">
          <p15:clr>
            <a:srgbClr val="FBAE40"/>
          </p15:clr>
        </p15:guide>
      </p15:sldGuideLst>
    </p:ext>
  </p:extLs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Marcador de posición de imagen 3">
            <a:extLst>
              <a:ext uri="{FF2B5EF4-FFF2-40B4-BE49-F238E27FC236}">
                <a16:creationId xmlns:a16="http://schemas.microsoft.com/office/drawing/2014/main" xmlns="" id="{602734B2-65B4-284E-AF5A-74CF40B7669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1" y="3174"/>
            <a:ext cx="12193588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 dirty="0"/>
              <a:t>Clic al centro para incorporar una imagen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xmlns="" id="{73577CB4-5A03-9E4B-AB3D-120C9169EF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5177791"/>
            <a:ext cx="4261515" cy="12054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30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ES_tradnl" dirty="0"/>
              <a:t>Título presentación Máximo 3 líneas   </a:t>
            </a:r>
            <a:br>
              <a:rPr lang="es-ES_tradnl" dirty="0"/>
            </a:br>
            <a:r>
              <a:rPr lang="es-ES_tradnl" dirty="0"/>
              <a:t>Arial Bold - 30 puntos </a:t>
            </a:r>
          </a:p>
        </p:txBody>
      </p:sp>
      <p:pic>
        <p:nvPicPr>
          <p:cNvPr id="8" name="Gráfico 7">
            <a:extLst>
              <a:ext uri="{FF2B5EF4-FFF2-40B4-BE49-F238E27FC236}">
                <a16:creationId xmlns="" xmlns:a16="http://schemas.microsoft.com/office/drawing/2014/main" id="{FDEC0ABD-6C88-E5D1-ED52-F3677C45D7F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560820" y="367978"/>
            <a:ext cx="1224729" cy="506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2528622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9496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7">
            <a:extLst>
              <a:ext uri="{FF2B5EF4-FFF2-40B4-BE49-F238E27FC236}">
                <a16:creationId xmlns:a16="http://schemas.microsoft.com/office/drawing/2014/main" xmlns="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849318" y="6307025"/>
            <a:ext cx="1039797" cy="5043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Fecha</a:t>
            </a:r>
            <a:endParaRPr lang="es-CL"/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xmlns="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7380" y="1881408"/>
            <a:ext cx="9657385" cy="309518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60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resentación Máximo 3 líneas </a:t>
            </a:r>
          </a:p>
          <a:p>
            <a:pPr lvl="0"/>
            <a:r>
              <a:rPr lang="es-ES" dirty="0"/>
              <a:t>Arial Bold - 60 puntos</a:t>
            </a:r>
            <a:endParaRPr lang="es-CL" dirty="0"/>
          </a:p>
        </p:txBody>
      </p:sp>
      <p:pic>
        <p:nvPicPr>
          <p:cNvPr id="7" name="Gráfico 6">
            <a:extLst>
              <a:ext uri="{FF2B5EF4-FFF2-40B4-BE49-F238E27FC236}">
                <a16:creationId xmlns:a16="http://schemas.microsoft.com/office/drawing/2014/main" xmlns="" id="{DFB54729-0CF1-4AB4-9937-C811A0CD9DD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9234103" y="1"/>
            <a:ext cx="2959485" cy="2959100"/>
          </a:xfrm>
          <a:prstGeom prst="rect">
            <a:avLst/>
          </a:prstGeom>
        </p:spPr>
      </p:pic>
      <p:pic>
        <p:nvPicPr>
          <p:cNvPr id="9" name="Gráfico 3">
            <a:extLst>
              <a:ext uri="{FF2B5EF4-FFF2-40B4-BE49-F238E27FC236}">
                <a16:creationId xmlns="" xmlns:a16="http://schemas.microsoft.com/office/drawing/2014/main" id="{A9074783-5EE3-1AC8-78B3-3BBE53D6D9B0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47379" y="386738"/>
            <a:ext cx="1923072" cy="7958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55078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6584">
          <p15:clr>
            <a:srgbClr val="FBAE40"/>
          </p15:clr>
        </p15:guide>
      </p15:sldGuideLst>
    </p:ext>
  </p:extLs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4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0520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arcador de texto 7">
            <a:extLst>
              <a:ext uri="{FF2B5EF4-FFF2-40B4-BE49-F238E27FC236}">
                <a16:creationId xmlns:a16="http://schemas.microsoft.com/office/drawing/2014/main" xmlns="" id="{9FAA23D5-B1A8-589C-8ED5-F341FFFEA56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100225" y="4046752"/>
            <a:ext cx="3980344" cy="5043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 dirty="0"/>
              <a:t>Subtítulo</a:t>
            </a:r>
            <a:r>
              <a:rPr lang="es-CL" dirty="0"/>
              <a:t> Arial 15</a:t>
            </a:r>
          </a:p>
        </p:txBody>
      </p:sp>
      <p:sp>
        <p:nvSpPr>
          <p:cNvPr id="7" name="Marcador de texto 7">
            <a:extLst>
              <a:ext uri="{FF2B5EF4-FFF2-40B4-BE49-F238E27FC236}">
                <a16:creationId xmlns:a16="http://schemas.microsoft.com/office/drawing/2014/main" xmlns="" id="{0B08D841-0276-33C3-3666-53CC67862A7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00224" y="2413733"/>
            <a:ext cx="3980345" cy="130036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30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ortada </a:t>
            </a:r>
            <a:r>
              <a:rPr lang="es-ES" dirty="0" smtClean="0"/>
              <a:t/>
            </a:r>
            <a:br>
              <a:rPr lang="es-ES" dirty="0" smtClean="0"/>
            </a:br>
            <a:r>
              <a:rPr lang="es-ES" dirty="0" smtClean="0"/>
              <a:t>máximo </a:t>
            </a:r>
            <a:r>
              <a:rPr lang="es-ES" dirty="0"/>
              <a:t>3 líneas Arial Regular - 30 puntos</a:t>
            </a:r>
            <a:endParaRPr lang="es-CL" dirty="0"/>
          </a:p>
        </p:txBody>
      </p:sp>
      <p:pic>
        <p:nvPicPr>
          <p:cNvPr id="9" name="Picture 6">
            <a:extLst>
              <a:ext uri="{FF2B5EF4-FFF2-40B4-BE49-F238E27FC236}">
                <a16:creationId xmlns="" xmlns:a16="http://schemas.microsoft.com/office/drawing/2014/main" id="{98BA7C6B-DB5F-EE2E-B534-7324B6BC8C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37" r="11749"/>
          <a:stretch/>
        </p:blipFill>
        <p:spPr>
          <a:xfrm>
            <a:off x="-1082216" y="-130002"/>
            <a:ext cx="8863649" cy="7495698"/>
          </a:xfrm>
          <a:prstGeom prst="rect">
            <a:avLst/>
          </a:prstGeom>
        </p:spPr>
      </p:pic>
      <p:pic>
        <p:nvPicPr>
          <p:cNvPr id="11" name="Gráfico 7">
            <a:extLst>
              <a:ext uri="{FF2B5EF4-FFF2-40B4-BE49-F238E27FC236}">
                <a16:creationId xmlns="" xmlns:a16="http://schemas.microsoft.com/office/drawing/2014/main" id="{FDEC0ABD-6C88-E5D1-ED52-F3677C45D7F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560820" y="367978"/>
            <a:ext cx="1224729" cy="506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36244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6584">
          <p15:clr>
            <a:srgbClr val="FBAE40"/>
          </p15:clr>
        </p15:guide>
        <p15:guide id="2" pos="3597">
          <p15:clr>
            <a:srgbClr val="FBAE40"/>
          </p15:clr>
        </p15:guide>
      </p15:sldGuideLst>
    </p:ext>
  </p:extLs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5 con vide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1544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Marcador de texto 7">
            <a:extLst>
              <a:ext uri="{FF2B5EF4-FFF2-40B4-BE49-F238E27FC236}">
                <a16:creationId xmlns="" xmlns:a16="http://schemas.microsoft.com/office/drawing/2014/main" id="{6E2DA3E9-55EC-34EB-6661-D855024744B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9679" y="811343"/>
            <a:ext cx="3975111" cy="15911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tabLst/>
              <a:defRPr sz="3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</a:t>
            </a:r>
            <a:r>
              <a:rPr lang="es-ES" dirty="0" smtClean="0"/>
              <a:t/>
            </a:r>
            <a:br>
              <a:rPr lang="es-ES" dirty="0" smtClean="0"/>
            </a:br>
            <a:r>
              <a:rPr lang="es-ES" dirty="0" smtClean="0"/>
              <a:t>Máximo </a:t>
            </a:r>
            <a:r>
              <a:rPr lang="es-ES" dirty="0"/>
              <a:t>3 líneas Arial - 36 puntos</a:t>
            </a:r>
            <a:endParaRPr lang="es-CL" dirty="0"/>
          </a:p>
        </p:txBody>
      </p:sp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04BBC7BC-8DF5-7A55-6DE5-FF82D71ABDC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9679" y="2747718"/>
            <a:ext cx="3496690" cy="15911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tabLst/>
              <a:defRPr sz="2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complementario Arial - 24 puntos</a:t>
            </a:r>
            <a:endParaRPr lang="es-CL" dirty="0"/>
          </a:p>
        </p:txBody>
      </p:sp>
      <p:sp>
        <p:nvSpPr>
          <p:cNvPr id="11" name="Marcador de medios 2">
            <a:extLst>
              <a:ext uri="{FF2B5EF4-FFF2-40B4-BE49-F238E27FC236}">
                <a16:creationId xmlns="" xmlns:a16="http://schemas.microsoft.com/office/drawing/2014/main" id="{EB2F4E9D-D8AF-7CE1-E65D-298040BE1DF2}"/>
              </a:ext>
            </a:extLst>
          </p:cNvPr>
          <p:cNvSpPr>
            <a:spLocks noGrp="1"/>
          </p:cNvSpPr>
          <p:nvPr>
            <p:ph type="media" sz="quarter" idx="18" hasCustomPrompt="1"/>
          </p:nvPr>
        </p:nvSpPr>
        <p:spPr>
          <a:xfrm>
            <a:off x="4805706" y="0"/>
            <a:ext cx="7387881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s-CL" dirty="0"/>
              <a:t>Doble clic para incorporar un video</a:t>
            </a:r>
          </a:p>
        </p:txBody>
      </p:sp>
      <p:pic>
        <p:nvPicPr>
          <p:cNvPr id="9" name="Gráfico 7">
            <a:extLst>
              <a:ext uri="{FF2B5EF4-FFF2-40B4-BE49-F238E27FC236}">
                <a16:creationId xmlns="" xmlns:a16="http://schemas.microsoft.com/office/drawing/2014/main" id="{FDEC0ABD-6C88-E5D1-ED52-F3677C45D7F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42971" y="5946684"/>
            <a:ext cx="1223949" cy="506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34488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6584">
          <p15:clr>
            <a:srgbClr val="FBAE40"/>
          </p15:clr>
        </p15:guide>
        <p15:guide id="2" pos="3597">
          <p15:clr>
            <a:srgbClr val="FBAE40"/>
          </p15:clr>
        </p15:guide>
      </p15:sldGuideLst>
    </p:ext>
  </p:extLs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ierre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2568" name="Diapositiva de think-cell" r:id="rId4" imgW="395" imgH="396" progId="TCLayout.ActiveDocument.1">
                  <p:embed/>
                </p:oleObj>
              </mc:Choice>
              <mc:Fallback>
                <p:oleObj name="Diapositiva de think-cell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áfico 1">
            <a:extLst>
              <a:ext uri="{FF2B5EF4-FFF2-40B4-BE49-F238E27FC236}">
                <a16:creationId xmlns="" xmlns:a16="http://schemas.microsoft.com/office/drawing/2014/main" id="{55A1FD02-61B9-9362-9931-2500DDF39A2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881837" y="2512391"/>
            <a:ext cx="4429915" cy="1833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4756862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err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3 Objeto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" y="0"/>
          <a:ext cx="21169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3592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211695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áfico 1">
            <a:extLst>
              <a:ext uri="{FF2B5EF4-FFF2-40B4-BE49-F238E27FC236}">
                <a16:creationId xmlns="" xmlns:a16="http://schemas.microsoft.com/office/drawing/2014/main" id="{0379CD50-C859-A3A9-6E4D-42577F12391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881844" y="2512392"/>
            <a:ext cx="4429901" cy="1833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3324157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erre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4616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arcador de texto 7">
            <a:extLst>
              <a:ext uri="{FF2B5EF4-FFF2-40B4-BE49-F238E27FC236}">
                <a16:creationId xmlns:a16="http://schemas.microsoft.com/office/drawing/2014/main" xmlns="" id="{53813F30-C9BF-C3FA-97C6-539F7B586CD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66636" y="1325118"/>
            <a:ext cx="5341623" cy="32933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tabLst/>
              <a:defRPr sz="115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CL" dirty="0" smtClean="0"/>
              <a:t>Texto</a:t>
            </a:r>
            <a:endParaRPr lang="es-CL" dirty="0"/>
          </a:p>
        </p:txBody>
      </p:sp>
      <p:sp>
        <p:nvSpPr>
          <p:cNvPr id="10" name="Marcador de texto 7">
            <a:extLst>
              <a:ext uri="{FF2B5EF4-FFF2-40B4-BE49-F238E27FC236}">
                <a16:creationId xmlns:a16="http://schemas.microsoft.com/office/drawing/2014/main" xmlns="" id="{6FB70D57-6140-544B-66BD-B9086F39FEA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66636" y="4903910"/>
            <a:ext cx="2138990" cy="23948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2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 err="1"/>
              <a:t>www.achs.cl</a:t>
            </a:r>
            <a:endParaRPr lang="es-CL" dirty="0"/>
          </a:p>
        </p:txBody>
      </p:sp>
      <p:pic>
        <p:nvPicPr>
          <p:cNvPr id="7" name="Picture 6">
            <a:extLst>
              <a:ext uri="{FF2B5EF4-FFF2-40B4-BE49-F238E27FC236}">
                <a16:creationId xmlns="" xmlns:a16="http://schemas.microsoft.com/office/drawing/2014/main" id="{D9B54E3A-1114-3FDB-72FE-1E2602E9D0B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356" t="-1005" r="24290" b="18450"/>
          <a:stretch/>
        </p:blipFill>
        <p:spPr>
          <a:xfrm>
            <a:off x="380006" y="696192"/>
            <a:ext cx="5955008" cy="6161809"/>
          </a:xfrm>
          <a:prstGeom prst="rect">
            <a:avLst/>
          </a:prstGeom>
        </p:spPr>
      </p:pic>
      <p:pic>
        <p:nvPicPr>
          <p:cNvPr id="8" name="Gráfico 2">
            <a:extLst>
              <a:ext uri="{FF2B5EF4-FFF2-40B4-BE49-F238E27FC236}">
                <a16:creationId xmlns="" xmlns:a16="http://schemas.microsoft.com/office/drawing/2014/main" id="{E3F7E20D-B774-856A-0346-DD0814DF82B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866636" y="5428822"/>
            <a:ext cx="1225367" cy="5070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70261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6584">
          <p15:clr>
            <a:srgbClr val="FBAE40"/>
          </p15:clr>
        </p15:guide>
        <p15:guide id="2" pos="3597">
          <p15:clr>
            <a:srgbClr val="FBAE40"/>
          </p15:clr>
        </p15:guide>
      </p15:sldGuideLst>
    </p:ext>
  </p:extLs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illa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texto 7">
            <a:extLst>
              <a:ext uri="{FF2B5EF4-FFF2-40B4-BE49-F238E27FC236}">
                <a16:creationId xmlns:a16="http://schemas.microsoft.com/office/drawing/2014/main" xmlns="" id="{7D61C88C-2C0C-7B1D-6536-0F4590425B1A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864409" y="4868685"/>
            <a:ext cx="5864620" cy="35628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xmlns="" id="{F8BF8D9D-FA7C-CE9E-07AE-288D7938C1A6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864409" y="1989316"/>
            <a:ext cx="7793039" cy="23468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60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</a:t>
            </a:r>
            <a:r>
              <a:rPr lang="es-ES" dirty="0" smtClean="0"/>
              <a:t>Regular</a:t>
            </a:r>
            <a:br>
              <a:rPr lang="es-ES" dirty="0" smtClean="0"/>
            </a:br>
            <a:r>
              <a:rPr lang="es-ES" dirty="0" smtClean="0"/>
              <a:t>60 </a:t>
            </a:r>
            <a:r>
              <a:rPr lang="es-ES" dirty="0"/>
              <a:t>punto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0269E2A7-5379-587D-1CF3-26750B56C66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0800000">
            <a:off x="10812478" y="5477070"/>
            <a:ext cx="1381111" cy="1380931"/>
          </a:xfrm>
          <a:prstGeom prst="rect">
            <a:avLst/>
          </a:prstGeom>
        </p:spPr>
      </p:pic>
      <p:pic>
        <p:nvPicPr>
          <p:cNvPr id="6" name="Gráfico 1">
            <a:extLst>
              <a:ext uri="{FF2B5EF4-FFF2-40B4-BE49-F238E27FC236}">
                <a16:creationId xmlns="" xmlns:a16="http://schemas.microsoft.com/office/drawing/2014/main" id="{8439E0E9-8B07-843D-A908-1FA718640EB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559932" y="367978"/>
            <a:ext cx="1225712" cy="507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791341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stacado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5640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arcador de texto 7">
            <a:extLst>
              <a:ext uri="{FF2B5EF4-FFF2-40B4-BE49-F238E27FC236}">
                <a16:creationId xmlns:a16="http://schemas.microsoft.com/office/drawing/2014/main" xmlns="" id="{01FF962A-1313-2AFA-B1E2-6B5A9591ADC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2971" y="512764"/>
            <a:ext cx="11342577" cy="56530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tabLst/>
              <a:defRPr sz="8800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importante Arial Regular - 88 puntos máximo 5 líneas</a:t>
            </a:r>
            <a:endParaRPr lang="es-CL" dirty="0"/>
          </a:p>
        </p:txBody>
      </p:sp>
      <p:sp>
        <p:nvSpPr>
          <p:cNvPr id="10" name="Marcador de número de diapositiva 23">
            <a:extLst>
              <a:ext uri="{FF2B5EF4-FFF2-40B4-BE49-F238E27FC236}">
                <a16:creationId xmlns:a16="http://schemas.microsoft.com/office/drawing/2014/main" xmlns="" id="{832595A6-04B9-5CB5-FC4C-B92263D41A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32793" y="6474653"/>
            <a:ext cx="505509" cy="234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914400"/>
            <a:fld id="{4B90B3AC-360D-4C0F-BB2D-EFC963FB8AB1}" type="slidenum">
              <a:rPr lang="es-CL" smtClean="0">
                <a:solidFill>
                  <a:srgbClr val="000000"/>
                </a:solidFill>
              </a:rPr>
              <a:pPr defTabSz="914400"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7" name="Marcador de pie de página 2">
            <a:extLst>
              <a:ext uri="{FF2B5EF4-FFF2-40B4-BE49-F238E27FC236}">
                <a16:creationId xmlns:a16="http://schemas.microsoft.com/office/drawing/2014/main" xmlns="" id="{1E9659C6-FF96-0824-B9C3-D5B47FA10CE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47637" y="6474654"/>
            <a:ext cx="10954536" cy="234291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pPr defTabSz="914400"/>
            <a:endParaRPr lang="es-CL" dirty="0">
              <a:solidFill>
                <a:srgbClr val="000000"/>
              </a:solidFill>
            </a:endParaRPr>
          </a:p>
        </p:txBody>
      </p:sp>
      <p:pic>
        <p:nvPicPr>
          <p:cNvPr id="8" name="Gráfico 2">
            <a:extLst>
              <a:ext uri="{FF2B5EF4-FFF2-40B4-BE49-F238E27FC236}">
                <a16:creationId xmlns="" xmlns:a16="http://schemas.microsoft.com/office/drawing/2014/main" id="{A64637E1-155F-2BEB-4A13-EFCF598D097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42971" y="5658760"/>
            <a:ext cx="1225367" cy="5070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64337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6584">
          <p15:clr>
            <a:srgbClr val="FBAE40"/>
          </p15:clr>
        </p15:guide>
        <p15:guide id="2" pos="3597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45CBEC0E-B438-D64A-80A9-C7666B1A20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902" y="457201"/>
            <a:ext cx="3932749" cy="1600200"/>
          </a:xfrm>
        </p:spPr>
        <p:txBody>
          <a:bodyPr anchor="b"/>
          <a:lstStyle>
            <a:lvl1pPr>
              <a:defRPr sz="3196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xmlns="" id="{EA899540-803C-0C43-AA4D-08DD8657E44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866" y="987433"/>
            <a:ext cx="6173004" cy="4873625"/>
          </a:xfrm>
        </p:spPr>
        <p:txBody>
          <a:bodyPr/>
          <a:lstStyle>
            <a:lvl1pPr marL="0" indent="0">
              <a:buNone/>
              <a:defRPr sz="3196"/>
            </a:lvl1pPr>
            <a:lvl2pPr marL="456682" indent="0">
              <a:buNone/>
              <a:defRPr sz="2796"/>
            </a:lvl2pPr>
            <a:lvl3pPr marL="913363" indent="0">
              <a:buNone/>
              <a:defRPr sz="2396"/>
            </a:lvl3pPr>
            <a:lvl4pPr marL="1370046" indent="0">
              <a:buNone/>
              <a:defRPr sz="1996"/>
            </a:lvl4pPr>
            <a:lvl5pPr marL="1826726" indent="0">
              <a:buNone/>
              <a:defRPr sz="1996"/>
            </a:lvl5pPr>
            <a:lvl6pPr marL="2283407" indent="0">
              <a:buNone/>
              <a:defRPr sz="1996"/>
            </a:lvl6pPr>
            <a:lvl7pPr marL="2740089" indent="0">
              <a:buNone/>
              <a:defRPr sz="1996"/>
            </a:lvl7pPr>
            <a:lvl8pPr marL="3196769" indent="0">
              <a:buNone/>
              <a:defRPr sz="1996"/>
            </a:lvl8pPr>
            <a:lvl9pPr marL="3653451" indent="0">
              <a:buNone/>
              <a:defRPr sz="1996"/>
            </a:lvl9pPr>
          </a:lstStyle>
          <a:p>
            <a:r>
              <a:rPr lang="es-ES" dirty="0"/>
              <a:t>Haga clic en el icono para agregar una imagen</a:t>
            </a:r>
            <a:endParaRPr lang="es-CL" dirty="0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xmlns="" id="{5AA703B4-01BE-2D4E-893C-E3F18C2D1C1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902" y="2057401"/>
            <a:ext cx="3932749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6682" indent="0">
              <a:buNone/>
              <a:defRPr sz="1400"/>
            </a:lvl2pPr>
            <a:lvl3pPr marL="913363" indent="0">
              <a:buNone/>
              <a:defRPr sz="1200"/>
            </a:lvl3pPr>
            <a:lvl4pPr marL="1370046" indent="0">
              <a:buNone/>
              <a:defRPr sz="1000"/>
            </a:lvl4pPr>
            <a:lvl5pPr marL="1826726" indent="0">
              <a:buNone/>
              <a:defRPr sz="1000"/>
            </a:lvl5pPr>
            <a:lvl6pPr marL="2283407" indent="0">
              <a:buNone/>
              <a:defRPr sz="1000"/>
            </a:lvl6pPr>
            <a:lvl7pPr marL="2740089" indent="0">
              <a:buNone/>
              <a:defRPr sz="1000"/>
            </a:lvl7pPr>
            <a:lvl8pPr marL="3196769" indent="0">
              <a:buNone/>
              <a:defRPr sz="1000"/>
            </a:lvl8pPr>
            <a:lvl9pPr marL="3653451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xmlns="" id="{19FD8E75-EE75-EE4C-BEE9-2DC3652280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DB3C94-6D56-164E-BA24-E6E2F14D2128}" type="datetimeFigureOut">
              <a:rPr lang="es-CL" smtClean="0"/>
              <a:t>04-02-2025</a:t>
            </a:fld>
            <a:endParaRPr lang="es-CL" dirty="0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xmlns="" id="{B93D739B-09F0-8842-8EBF-3B3C6D452B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xmlns="" id="{E4D000A8-F8A7-4743-A651-998A6DED2E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83AE60-A720-A443-B80B-BB7E1A5C8997}" type="slidenum">
              <a:rPr lang="es-CL" smtClean="0"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4115022049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stacado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6664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ounded Rectangle 1">
            <a:extLst>
              <a:ext uri="{FF2B5EF4-FFF2-40B4-BE49-F238E27FC236}">
                <a16:creationId xmlns:a16="http://schemas.microsoft.com/office/drawing/2014/main" xmlns="" id="{817A15A5-B715-CEBF-D3E2-601769F1BD85}"/>
              </a:ext>
            </a:extLst>
          </p:cNvPr>
          <p:cNvSpPr/>
          <p:nvPr userDrawn="1"/>
        </p:nvSpPr>
        <p:spPr>
          <a:xfrm>
            <a:off x="425507" y="3099832"/>
            <a:ext cx="11342576" cy="658336"/>
          </a:xfrm>
          <a:prstGeom prst="round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/>
            <a:endParaRPr lang="x-none" sz="320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5" name="Picture 5">
            <a:extLst>
              <a:ext uri="{FF2B5EF4-FFF2-40B4-BE49-F238E27FC236}">
                <a16:creationId xmlns:a16="http://schemas.microsoft.com/office/drawing/2014/main" xmlns="" id="{2893AAB8-CDEC-DF57-25D7-289B58ACCA0D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 rot="10800000">
            <a:off x="10395058" y="4883057"/>
            <a:ext cx="1381111" cy="1380931"/>
          </a:xfrm>
          <a:prstGeom prst="rect">
            <a:avLst/>
          </a:prstGeom>
        </p:spPr>
      </p:pic>
      <p:sp>
        <p:nvSpPr>
          <p:cNvPr id="6" name="Marcador de texto 7">
            <a:extLst>
              <a:ext uri="{FF2B5EF4-FFF2-40B4-BE49-F238E27FC236}">
                <a16:creationId xmlns:a16="http://schemas.microsoft.com/office/drawing/2014/main" xmlns="" id="{FA4EA27C-2903-E664-A909-96FA2D6C63C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19382" y="1033743"/>
            <a:ext cx="9954824" cy="47905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tabLst/>
              <a:defRPr sz="54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“Frase entre comillas” </a:t>
            </a:r>
          </a:p>
          <a:p>
            <a:pPr lvl="0"/>
            <a:r>
              <a:rPr lang="es-ES" dirty="0"/>
              <a:t>Arial</a:t>
            </a:r>
            <a:endParaRPr lang="es-CL" dirty="0"/>
          </a:p>
        </p:txBody>
      </p:sp>
      <p:sp>
        <p:nvSpPr>
          <p:cNvPr id="10" name="Marcador de número de diapositiva 23">
            <a:extLst>
              <a:ext uri="{FF2B5EF4-FFF2-40B4-BE49-F238E27FC236}">
                <a16:creationId xmlns:a16="http://schemas.microsoft.com/office/drawing/2014/main" xmlns="" id="{832595A6-04B9-5CB5-FC4C-B92263D41A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32793" y="6474653"/>
            <a:ext cx="505509" cy="234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914400"/>
            <a:fld id="{4B90B3AC-360D-4C0F-BB2D-EFC963FB8AB1}" type="slidenum">
              <a:rPr lang="es-CL" smtClean="0">
                <a:solidFill>
                  <a:srgbClr val="000000"/>
                </a:solidFill>
              </a:rPr>
              <a:pPr defTabSz="914400"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11" name="Marcador de pie de página 2">
            <a:extLst>
              <a:ext uri="{FF2B5EF4-FFF2-40B4-BE49-F238E27FC236}">
                <a16:creationId xmlns:a16="http://schemas.microsoft.com/office/drawing/2014/main" xmlns="" id="{1E9659C6-FF96-0824-B9C3-D5B47FA10CE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47637" y="6474654"/>
            <a:ext cx="10954536" cy="234291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pPr defTabSz="914400"/>
            <a:endParaRPr lang="es-CL" dirty="0">
              <a:solidFill>
                <a:srgbClr val="000000"/>
              </a:solidFill>
            </a:endParaRPr>
          </a:p>
        </p:txBody>
      </p:sp>
      <p:pic>
        <p:nvPicPr>
          <p:cNvPr id="12" name="Gráfico 1">
            <a:extLst>
              <a:ext uri="{FF2B5EF4-FFF2-40B4-BE49-F238E27FC236}">
                <a16:creationId xmlns="" xmlns:a16="http://schemas.microsoft.com/office/drawing/2014/main" id="{8439E0E9-8B07-843D-A908-1FA718640EB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21188" y="5297738"/>
            <a:ext cx="1246637" cy="5158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29532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6584">
          <p15:clr>
            <a:srgbClr val="FBAE40"/>
          </p15:clr>
        </p15:guide>
        <p15:guide id="2" pos="3597">
          <p15:clr>
            <a:srgbClr val="FBAE40"/>
          </p15:clr>
        </p15:guide>
      </p15:sldGuideLst>
    </p:ext>
  </p:extLs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0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711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Marcador de texto 7">
            <a:extLst>
              <a:ext uri="{FF2B5EF4-FFF2-40B4-BE49-F238E27FC236}">
                <a16:creationId xmlns:a16="http://schemas.microsoft.com/office/drawing/2014/main" xmlns="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76576" y="4302040"/>
            <a:ext cx="5371506" cy="5043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5</a:t>
            </a:r>
            <a:endParaRPr lang="es-CL" dirty="0"/>
          </a:p>
        </p:txBody>
      </p:sp>
      <p:sp>
        <p:nvSpPr>
          <p:cNvPr id="10" name="Marcador de texto 7">
            <a:extLst>
              <a:ext uri="{FF2B5EF4-FFF2-40B4-BE49-F238E27FC236}">
                <a16:creationId xmlns:a16="http://schemas.microsoft.com/office/drawing/2014/main" xmlns="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85427" y="2762488"/>
            <a:ext cx="5362655" cy="130036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30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resentación Máximo 3 líneas Arial </a:t>
            </a:r>
            <a:r>
              <a:rPr lang="es-ES" dirty="0" err="1"/>
              <a:t>bold</a:t>
            </a:r>
            <a:r>
              <a:rPr lang="es-ES" dirty="0"/>
              <a:t>- 30 puntos</a:t>
            </a:r>
            <a:endParaRPr lang="es-CL" dirty="0"/>
          </a:p>
        </p:txBody>
      </p:sp>
      <p:sp>
        <p:nvSpPr>
          <p:cNvPr id="11" name="Marcador de texto 7">
            <a:extLst>
              <a:ext uri="{FF2B5EF4-FFF2-40B4-BE49-F238E27FC236}">
                <a16:creationId xmlns:a16="http://schemas.microsoft.com/office/drawing/2014/main" xmlns="" id="{7158EF60-E659-4F3D-DDFF-B4430EFEAEC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585427" y="2291215"/>
            <a:ext cx="874337" cy="25190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Fecha</a:t>
            </a:r>
            <a:endParaRPr lang="es-CL" dirty="0"/>
          </a:p>
        </p:txBody>
      </p:sp>
      <p:pic>
        <p:nvPicPr>
          <p:cNvPr id="9" name="Gráfico 2">
            <a:extLst>
              <a:ext uri="{FF2B5EF4-FFF2-40B4-BE49-F238E27FC236}">
                <a16:creationId xmlns="" xmlns:a16="http://schemas.microsoft.com/office/drawing/2014/main" id="{8066F590-0543-6B5C-7B40-D3EBC4B4162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204117" y="2543117"/>
            <a:ext cx="3713048" cy="1536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0345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6584">
          <p15:clr>
            <a:srgbClr val="FBAE40"/>
          </p15:clr>
        </p15:guide>
        <p15:guide id="2" pos="3597">
          <p15:clr>
            <a:srgbClr val="FBAE40"/>
          </p15:clr>
        </p15:guide>
      </p15:sldGuideLst>
    </p:ext>
  </p:extLs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9735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Marcador de texto 7">
            <a:extLst>
              <a:ext uri="{FF2B5EF4-FFF2-40B4-BE49-F238E27FC236}">
                <a16:creationId xmlns:a16="http://schemas.microsoft.com/office/drawing/2014/main" xmlns="" id="{BF82C2D2-470B-340E-2C53-AE2D8419821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76576" y="4302040"/>
            <a:ext cx="5371506" cy="5043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5</a:t>
            </a:r>
            <a:endParaRPr lang="es-CL" dirty="0"/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xmlns="" id="{871C39F7-EBC2-2D1D-3771-B165ED50215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85427" y="2762488"/>
            <a:ext cx="5362655" cy="130036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30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resentación Máximo 3 líneas Arial </a:t>
            </a:r>
            <a:r>
              <a:rPr lang="es-ES" dirty="0" err="1"/>
              <a:t>bold</a:t>
            </a:r>
            <a:r>
              <a:rPr lang="es-ES" dirty="0"/>
              <a:t>- 30 puntos</a:t>
            </a:r>
            <a:endParaRPr lang="es-CL" dirty="0"/>
          </a:p>
        </p:txBody>
      </p:sp>
      <p:pic>
        <p:nvPicPr>
          <p:cNvPr id="6" name="Gráfico 2">
            <a:extLst>
              <a:ext uri="{FF2B5EF4-FFF2-40B4-BE49-F238E27FC236}">
                <a16:creationId xmlns="" xmlns:a16="http://schemas.microsoft.com/office/drawing/2014/main" id="{8066F590-0543-6B5C-7B40-D3EBC4B4162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204117" y="2543117"/>
            <a:ext cx="3713048" cy="1536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9124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6584">
          <p15:clr>
            <a:srgbClr val="FBAE40"/>
          </p15:clr>
        </p15:guide>
        <p15:guide id="2" pos="3597">
          <p15:clr>
            <a:srgbClr val="FBAE40"/>
          </p15:clr>
        </p15:guide>
      </p15:sldGuideLst>
    </p:ext>
  </p:extLs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Marcador de posición de imagen 3">
            <a:extLst>
              <a:ext uri="{FF2B5EF4-FFF2-40B4-BE49-F238E27FC236}">
                <a16:creationId xmlns:a16="http://schemas.microsoft.com/office/drawing/2014/main" xmlns="" id="{602734B2-65B4-284E-AF5A-74CF40B7669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1" y="3174"/>
            <a:ext cx="12193588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 dirty="0"/>
              <a:t>Clic al centro para incorporar una imagen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xmlns="" id="{73577CB4-5A03-9E4B-AB3D-120C9169EF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5177791"/>
            <a:ext cx="4261515" cy="12054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30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ES_tradnl" dirty="0"/>
              <a:t>Título presentación Máximo 3 líneas   </a:t>
            </a:r>
            <a:br>
              <a:rPr lang="es-ES_tradnl" dirty="0"/>
            </a:br>
            <a:r>
              <a:rPr lang="es-ES_tradnl" dirty="0"/>
              <a:t>Arial Bold - 30 puntos </a:t>
            </a:r>
          </a:p>
        </p:txBody>
      </p:sp>
      <p:pic>
        <p:nvPicPr>
          <p:cNvPr id="8" name="Gráfico 7">
            <a:extLst>
              <a:ext uri="{FF2B5EF4-FFF2-40B4-BE49-F238E27FC236}">
                <a16:creationId xmlns="" xmlns:a16="http://schemas.microsoft.com/office/drawing/2014/main" id="{FDEC0ABD-6C88-E5D1-ED52-F3677C45D7F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560820" y="367978"/>
            <a:ext cx="1224729" cy="506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2230826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0759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7">
            <a:extLst>
              <a:ext uri="{FF2B5EF4-FFF2-40B4-BE49-F238E27FC236}">
                <a16:creationId xmlns:a16="http://schemas.microsoft.com/office/drawing/2014/main" xmlns="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849318" y="6307025"/>
            <a:ext cx="1039797" cy="5043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Fecha</a:t>
            </a:r>
            <a:endParaRPr lang="es-CL"/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xmlns="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7380" y="1881408"/>
            <a:ext cx="9657385" cy="309518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60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resentación Máximo 3 líneas </a:t>
            </a:r>
          </a:p>
          <a:p>
            <a:pPr lvl="0"/>
            <a:r>
              <a:rPr lang="es-ES" dirty="0"/>
              <a:t>Arial Bold - 60 puntos</a:t>
            </a:r>
            <a:endParaRPr lang="es-CL" dirty="0"/>
          </a:p>
        </p:txBody>
      </p:sp>
      <p:pic>
        <p:nvPicPr>
          <p:cNvPr id="7" name="Gráfico 6">
            <a:extLst>
              <a:ext uri="{FF2B5EF4-FFF2-40B4-BE49-F238E27FC236}">
                <a16:creationId xmlns:a16="http://schemas.microsoft.com/office/drawing/2014/main" xmlns="" id="{DFB54729-0CF1-4AB4-9937-C811A0CD9DD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9234103" y="1"/>
            <a:ext cx="2959485" cy="2959100"/>
          </a:xfrm>
          <a:prstGeom prst="rect">
            <a:avLst/>
          </a:prstGeom>
        </p:spPr>
      </p:pic>
      <p:pic>
        <p:nvPicPr>
          <p:cNvPr id="9" name="Gráfico 3">
            <a:extLst>
              <a:ext uri="{FF2B5EF4-FFF2-40B4-BE49-F238E27FC236}">
                <a16:creationId xmlns="" xmlns:a16="http://schemas.microsoft.com/office/drawing/2014/main" id="{A9074783-5EE3-1AC8-78B3-3BBE53D6D9B0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47379" y="386738"/>
            <a:ext cx="1923072" cy="7958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29850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6584">
          <p15:clr>
            <a:srgbClr val="FBAE40"/>
          </p15:clr>
        </p15:guide>
      </p15:sldGuideLst>
    </p:ext>
  </p:extLs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4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1783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arcador de texto 7">
            <a:extLst>
              <a:ext uri="{FF2B5EF4-FFF2-40B4-BE49-F238E27FC236}">
                <a16:creationId xmlns:a16="http://schemas.microsoft.com/office/drawing/2014/main" xmlns="" id="{9FAA23D5-B1A8-589C-8ED5-F341FFFEA56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100225" y="4046752"/>
            <a:ext cx="3980344" cy="5043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 dirty="0"/>
              <a:t>Subtítulo</a:t>
            </a:r>
            <a:r>
              <a:rPr lang="es-CL" dirty="0"/>
              <a:t> Arial 15</a:t>
            </a:r>
          </a:p>
        </p:txBody>
      </p:sp>
      <p:sp>
        <p:nvSpPr>
          <p:cNvPr id="7" name="Marcador de texto 7">
            <a:extLst>
              <a:ext uri="{FF2B5EF4-FFF2-40B4-BE49-F238E27FC236}">
                <a16:creationId xmlns:a16="http://schemas.microsoft.com/office/drawing/2014/main" xmlns="" id="{0B08D841-0276-33C3-3666-53CC67862A7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00224" y="2413733"/>
            <a:ext cx="3980345" cy="130036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30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ortada </a:t>
            </a:r>
            <a:r>
              <a:rPr lang="es-ES" dirty="0" smtClean="0"/>
              <a:t/>
            </a:r>
            <a:br>
              <a:rPr lang="es-ES" dirty="0" smtClean="0"/>
            </a:br>
            <a:r>
              <a:rPr lang="es-ES" dirty="0" smtClean="0"/>
              <a:t>máximo </a:t>
            </a:r>
            <a:r>
              <a:rPr lang="es-ES" dirty="0"/>
              <a:t>3 líneas Arial Regular - 30 puntos</a:t>
            </a:r>
            <a:endParaRPr lang="es-CL" dirty="0"/>
          </a:p>
        </p:txBody>
      </p:sp>
      <p:pic>
        <p:nvPicPr>
          <p:cNvPr id="9" name="Picture 6">
            <a:extLst>
              <a:ext uri="{FF2B5EF4-FFF2-40B4-BE49-F238E27FC236}">
                <a16:creationId xmlns="" xmlns:a16="http://schemas.microsoft.com/office/drawing/2014/main" id="{98BA7C6B-DB5F-EE2E-B534-7324B6BC8C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37" r="11749"/>
          <a:stretch/>
        </p:blipFill>
        <p:spPr>
          <a:xfrm>
            <a:off x="-1082216" y="-130002"/>
            <a:ext cx="8863649" cy="7495698"/>
          </a:xfrm>
          <a:prstGeom prst="rect">
            <a:avLst/>
          </a:prstGeom>
        </p:spPr>
      </p:pic>
      <p:pic>
        <p:nvPicPr>
          <p:cNvPr id="11" name="Gráfico 7">
            <a:extLst>
              <a:ext uri="{FF2B5EF4-FFF2-40B4-BE49-F238E27FC236}">
                <a16:creationId xmlns="" xmlns:a16="http://schemas.microsoft.com/office/drawing/2014/main" id="{FDEC0ABD-6C88-E5D1-ED52-F3677C45D7F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560820" y="367978"/>
            <a:ext cx="1224729" cy="506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49830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6584">
          <p15:clr>
            <a:srgbClr val="FBAE40"/>
          </p15:clr>
        </p15:guide>
        <p15:guide id="2" pos="3597">
          <p15:clr>
            <a:srgbClr val="FBAE40"/>
          </p15:clr>
        </p15:guide>
      </p15:sldGuideLst>
    </p:ext>
  </p:extLs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5 con vide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2807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Marcador de texto 7">
            <a:extLst>
              <a:ext uri="{FF2B5EF4-FFF2-40B4-BE49-F238E27FC236}">
                <a16:creationId xmlns="" xmlns:a16="http://schemas.microsoft.com/office/drawing/2014/main" id="{6E2DA3E9-55EC-34EB-6661-D855024744B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9679" y="811343"/>
            <a:ext cx="3975111" cy="15911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tabLst/>
              <a:defRPr sz="3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</a:t>
            </a:r>
            <a:r>
              <a:rPr lang="es-ES" dirty="0" smtClean="0"/>
              <a:t/>
            </a:r>
            <a:br>
              <a:rPr lang="es-ES" dirty="0" smtClean="0"/>
            </a:br>
            <a:r>
              <a:rPr lang="es-ES" dirty="0" smtClean="0"/>
              <a:t>Máximo </a:t>
            </a:r>
            <a:r>
              <a:rPr lang="es-ES" dirty="0"/>
              <a:t>3 líneas Arial - 36 puntos</a:t>
            </a:r>
            <a:endParaRPr lang="es-CL" dirty="0"/>
          </a:p>
        </p:txBody>
      </p:sp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04BBC7BC-8DF5-7A55-6DE5-FF82D71ABDC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9679" y="2747718"/>
            <a:ext cx="3496690" cy="15911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tabLst/>
              <a:defRPr sz="2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complementario Arial - 24 puntos</a:t>
            </a:r>
            <a:endParaRPr lang="es-CL" dirty="0"/>
          </a:p>
        </p:txBody>
      </p:sp>
      <p:sp>
        <p:nvSpPr>
          <p:cNvPr id="11" name="Marcador de medios 2">
            <a:extLst>
              <a:ext uri="{FF2B5EF4-FFF2-40B4-BE49-F238E27FC236}">
                <a16:creationId xmlns="" xmlns:a16="http://schemas.microsoft.com/office/drawing/2014/main" id="{EB2F4E9D-D8AF-7CE1-E65D-298040BE1DF2}"/>
              </a:ext>
            </a:extLst>
          </p:cNvPr>
          <p:cNvSpPr>
            <a:spLocks noGrp="1"/>
          </p:cNvSpPr>
          <p:nvPr>
            <p:ph type="media" sz="quarter" idx="18" hasCustomPrompt="1"/>
          </p:nvPr>
        </p:nvSpPr>
        <p:spPr>
          <a:xfrm>
            <a:off x="4805706" y="0"/>
            <a:ext cx="7387881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s-CL" dirty="0"/>
              <a:t>Doble clic para incorporar un video</a:t>
            </a:r>
          </a:p>
        </p:txBody>
      </p:sp>
      <p:pic>
        <p:nvPicPr>
          <p:cNvPr id="9" name="Gráfico 7">
            <a:extLst>
              <a:ext uri="{FF2B5EF4-FFF2-40B4-BE49-F238E27FC236}">
                <a16:creationId xmlns="" xmlns:a16="http://schemas.microsoft.com/office/drawing/2014/main" id="{FDEC0ABD-6C88-E5D1-ED52-F3677C45D7F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42971" y="5946684"/>
            <a:ext cx="1223949" cy="506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67604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6584">
          <p15:clr>
            <a:srgbClr val="FBAE40"/>
          </p15:clr>
        </p15:guide>
        <p15:guide id="2" pos="3597">
          <p15:clr>
            <a:srgbClr val="FBAE40"/>
          </p15:clr>
        </p15:guide>
      </p15:sldGuideLst>
    </p:ext>
  </p:extLs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ierre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3831" name="Diapositiva de think-cell" r:id="rId4" imgW="395" imgH="396" progId="TCLayout.ActiveDocument.1">
                  <p:embed/>
                </p:oleObj>
              </mc:Choice>
              <mc:Fallback>
                <p:oleObj name="Diapositiva de think-cell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áfico 1">
            <a:extLst>
              <a:ext uri="{FF2B5EF4-FFF2-40B4-BE49-F238E27FC236}">
                <a16:creationId xmlns="" xmlns:a16="http://schemas.microsoft.com/office/drawing/2014/main" id="{55A1FD02-61B9-9362-9931-2500DDF39A2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881837" y="2512391"/>
            <a:ext cx="4429915" cy="1833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4998532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err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3 Objeto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" y="0"/>
          <a:ext cx="21169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4855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211695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áfico 1">
            <a:extLst>
              <a:ext uri="{FF2B5EF4-FFF2-40B4-BE49-F238E27FC236}">
                <a16:creationId xmlns="" xmlns:a16="http://schemas.microsoft.com/office/drawing/2014/main" id="{0379CD50-C859-A3A9-6E4D-42577F12391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881844" y="2512392"/>
            <a:ext cx="4429901" cy="1833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3497476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erre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5879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arcador de texto 7">
            <a:extLst>
              <a:ext uri="{FF2B5EF4-FFF2-40B4-BE49-F238E27FC236}">
                <a16:creationId xmlns:a16="http://schemas.microsoft.com/office/drawing/2014/main" xmlns="" id="{53813F30-C9BF-C3FA-97C6-539F7B586CD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66636" y="1325118"/>
            <a:ext cx="5341623" cy="32933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tabLst/>
              <a:defRPr sz="115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CL" dirty="0" smtClean="0"/>
              <a:t>Texto</a:t>
            </a:r>
            <a:endParaRPr lang="es-CL" dirty="0"/>
          </a:p>
        </p:txBody>
      </p:sp>
      <p:sp>
        <p:nvSpPr>
          <p:cNvPr id="10" name="Marcador de texto 7">
            <a:extLst>
              <a:ext uri="{FF2B5EF4-FFF2-40B4-BE49-F238E27FC236}">
                <a16:creationId xmlns:a16="http://schemas.microsoft.com/office/drawing/2014/main" xmlns="" id="{6FB70D57-6140-544B-66BD-B9086F39FEA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66636" y="4903910"/>
            <a:ext cx="2138990" cy="23948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2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 err="1"/>
              <a:t>www.achs.cl</a:t>
            </a:r>
            <a:endParaRPr lang="es-CL" dirty="0"/>
          </a:p>
        </p:txBody>
      </p:sp>
      <p:pic>
        <p:nvPicPr>
          <p:cNvPr id="7" name="Picture 6">
            <a:extLst>
              <a:ext uri="{FF2B5EF4-FFF2-40B4-BE49-F238E27FC236}">
                <a16:creationId xmlns="" xmlns:a16="http://schemas.microsoft.com/office/drawing/2014/main" id="{D9B54E3A-1114-3FDB-72FE-1E2602E9D0B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356" t="-1005" r="24290" b="18450"/>
          <a:stretch/>
        </p:blipFill>
        <p:spPr>
          <a:xfrm>
            <a:off x="380006" y="696192"/>
            <a:ext cx="5955008" cy="6161809"/>
          </a:xfrm>
          <a:prstGeom prst="rect">
            <a:avLst/>
          </a:prstGeom>
        </p:spPr>
      </p:pic>
      <p:pic>
        <p:nvPicPr>
          <p:cNvPr id="8" name="Gráfico 2">
            <a:extLst>
              <a:ext uri="{FF2B5EF4-FFF2-40B4-BE49-F238E27FC236}">
                <a16:creationId xmlns="" xmlns:a16="http://schemas.microsoft.com/office/drawing/2014/main" id="{E3F7E20D-B774-856A-0346-DD0814DF82B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866636" y="5428822"/>
            <a:ext cx="1225367" cy="5070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72735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6584">
          <p15:clr>
            <a:srgbClr val="FBAE40"/>
          </p15:clr>
        </p15:guide>
        <p15:guide id="2" pos="3597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7E4EF53E-0A25-F749-935D-D8D50DE609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xmlns="" id="{62ACBBAE-76E3-1948-BFE6-DD5FAB9F1B6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CC26E5AF-D5F5-7745-A119-C4DB5DFFDC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DB3C94-6D56-164E-BA24-E6E2F14D2128}" type="datetimeFigureOut">
              <a:rPr lang="es-CL" smtClean="0"/>
              <a:t>04-02-2025</a:t>
            </a:fld>
            <a:endParaRPr lang="es-CL" dirty="0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F0220E68-EE97-AE4A-B0E4-6D89252B31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902935D9-2275-AA45-BD21-727B980738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83AE60-A720-A443-B80B-BB7E1A5C8997}" type="slidenum">
              <a:rPr lang="es-CL" smtClean="0"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233373083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illa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texto 7">
            <a:extLst>
              <a:ext uri="{FF2B5EF4-FFF2-40B4-BE49-F238E27FC236}">
                <a16:creationId xmlns:a16="http://schemas.microsoft.com/office/drawing/2014/main" xmlns="" id="{7D61C88C-2C0C-7B1D-6536-0F4590425B1A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864409" y="4868685"/>
            <a:ext cx="5864620" cy="35628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xmlns="" id="{F8BF8D9D-FA7C-CE9E-07AE-288D7938C1A6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864409" y="1989316"/>
            <a:ext cx="7793039" cy="23468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60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</a:t>
            </a:r>
            <a:r>
              <a:rPr lang="es-ES" dirty="0" smtClean="0"/>
              <a:t>Regular</a:t>
            </a:r>
            <a:br>
              <a:rPr lang="es-ES" dirty="0" smtClean="0"/>
            </a:br>
            <a:r>
              <a:rPr lang="es-ES" dirty="0" smtClean="0"/>
              <a:t>60 </a:t>
            </a:r>
            <a:r>
              <a:rPr lang="es-ES" dirty="0"/>
              <a:t>punto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0269E2A7-5379-587D-1CF3-26750B56C66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0800000">
            <a:off x="10812478" y="5477070"/>
            <a:ext cx="1381111" cy="1380931"/>
          </a:xfrm>
          <a:prstGeom prst="rect">
            <a:avLst/>
          </a:prstGeom>
        </p:spPr>
      </p:pic>
      <p:pic>
        <p:nvPicPr>
          <p:cNvPr id="6" name="Gráfico 1">
            <a:extLst>
              <a:ext uri="{FF2B5EF4-FFF2-40B4-BE49-F238E27FC236}">
                <a16:creationId xmlns="" xmlns:a16="http://schemas.microsoft.com/office/drawing/2014/main" id="{8439E0E9-8B07-843D-A908-1FA718640EB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559932" y="367978"/>
            <a:ext cx="1225712" cy="507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875348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stacado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6903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arcador de texto 7">
            <a:extLst>
              <a:ext uri="{FF2B5EF4-FFF2-40B4-BE49-F238E27FC236}">
                <a16:creationId xmlns:a16="http://schemas.microsoft.com/office/drawing/2014/main" xmlns="" id="{01FF962A-1313-2AFA-B1E2-6B5A9591ADC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2971" y="512764"/>
            <a:ext cx="11342577" cy="56530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tabLst/>
              <a:defRPr sz="8800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importante Arial Regular - 88 puntos máximo 5 líneas</a:t>
            </a:r>
            <a:endParaRPr lang="es-CL" dirty="0"/>
          </a:p>
        </p:txBody>
      </p:sp>
      <p:sp>
        <p:nvSpPr>
          <p:cNvPr id="10" name="Marcador de número de diapositiva 23">
            <a:extLst>
              <a:ext uri="{FF2B5EF4-FFF2-40B4-BE49-F238E27FC236}">
                <a16:creationId xmlns:a16="http://schemas.microsoft.com/office/drawing/2014/main" xmlns="" id="{832595A6-04B9-5CB5-FC4C-B92263D41A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32793" y="6474653"/>
            <a:ext cx="505509" cy="234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914400"/>
            <a:fld id="{4B90B3AC-360D-4C0F-BB2D-EFC963FB8AB1}" type="slidenum">
              <a:rPr lang="es-CL" smtClean="0">
                <a:solidFill>
                  <a:srgbClr val="000000"/>
                </a:solidFill>
              </a:rPr>
              <a:pPr defTabSz="914400"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7" name="Marcador de pie de página 2">
            <a:extLst>
              <a:ext uri="{FF2B5EF4-FFF2-40B4-BE49-F238E27FC236}">
                <a16:creationId xmlns:a16="http://schemas.microsoft.com/office/drawing/2014/main" xmlns="" id="{1E9659C6-FF96-0824-B9C3-D5B47FA10CE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47637" y="6474654"/>
            <a:ext cx="10954536" cy="234291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pPr defTabSz="914400"/>
            <a:endParaRPr lang="es-CL" dirty="0">
              <a:solidFill>
                <a:srgbClr val="000000"/>
              </a:solidFill>
            </a:endParaRPr>
          </a:p>
        </p:txBody>
      </p:sp>
      <p:pic>
        <p:nvPicPr>
          <p:cNvPr id="8" name="Gráfico 2">
            <a:extLst>
              <a:ext uri="{FF2B5EF4-FFF2-40B4-BE49-F238E27FC236}">
                <a16:creationId xmlns="" xmlns:a16="http://schemas.microsoft.com/office/drawing/2014/main" id="{A64637E1-155F-2BEB-4A13-EFCF598D097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42971" y="5658760"/>
            <a:ext cx="1225367" cy="5070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10264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6584">
          <p15:clr>
            <a:srgbClr val="FBAE40"/>
          </p15:clr>
        </p15:guide>
        <p15:guide id="2" pos="3597">
          <p15:clr>
            <a:srgbClr val="FBAE40"/>
          </p15:clr>
        </p15:guide>
      </p15:sldGuideLst>
    </p:ext>
  </p:extLs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stacado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27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ounded Rectangle 1">
            <a:extLst>
              <a:ext uri="{FF2B5EF4-FFF2-40B4-BE49-F238E27FC236}">
                <a16:creationId xmlns:a16="http://schemas.microsoft.com/office/drawing/2014/main" xmlns="" id="{817A15A5-B715-CEBF-D3E2-601769F1BD85}"/>
              </a:ext>
            </a:extLst>
          </p:cNvPr>
          <p:cNvSpPr/>
          <p:nvPr userDrawn="1"/>
        </p:nvSpPr>
        <p:spPr>
          <a:xfrm>
            <a:off x="425507" y="3099832"/>
            <a:ext cx="11342576" cy="658336"/>
          </a:xfrm>
          <a:prstGeom prst="round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/>
            <a:endParaRPr lang="x-none" sz="320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5" name="Picture 5">
            <a:extLst>
              <a:ext uri="{FF2B5EF4-FFF2-40B4-BE49-F238E27FC236}">
                <a16:creationId xmlns:a16="http://schemas.microsoft.com/office/drawing/2014/main" xmlns="" id="{2893AAB8-CDEC-DF57-25D7-289B58ACCA0D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 rot="10800000">
            <a:off x="10395058" y="4883057"/>
            <a:ext cx="1381111" cy="1380931"/>
          </a:xfrm>
          <a:prstGeom prst="rect">
            <a:avLst/>
          </a:prstGeom>
        </p:spPr>
      </p:pic>
      <p:sp>
        <p:nvSpPr>
          <p:cNvPr id="6" name="Marcador de texto 7">
            <a:extLst>
              <a:ext uri="{FF2B5EF4-FFF2-40B4-BE49-F238E27FC236}">
                <a16:creationId xmlns:a16="http://schemas.microsoft.com/office/drawing/2014/main" xmlns="" id="{FA4EA27C-2903-E664-A909-96FA2D6C63C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19382" y="1033743"/>
            <a:ext cx="9954824" cy="47905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tabLst/>
              <a:defRPr sz="54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“Frase entre comillas” </a:t>
            </a:r>
          </a:p>
          <a:p>
            <a:pPr lvl="0"/>
            <a:r>
              <a:rPr lang="es-ES" dirty="0"/>
              <a:t>Arial</a:t>
            </a:r>
            <a:endParaRPr lang="es-CL" dirty="0"/>
          </a:p>
        </p:txBody>
      </p:sp>
      <p:sp>
        <p:nvSpPr>
          <p:cNvPr id="10" name="Marcador de número de diapositiva 23">
            <a:extLst>
              <a:ext uri="{FF2B5EF4-FFF2-40B4-BE49-F238E27FC236}">
                <a16:creationId xmlns:a16="http://schemas.microsoft.com/office/drawing/2014/main" xmlns="" id="{832595A6-04B9-5CB5-FC4C-B92263D41A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32793" y="6474653"/>
            <a:ext cx="505509" cy="234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914400"/>
            <a:fld id="{4B90B3AC-360D-4C0F-BB2D-EFC963FB8AB1}" type="slidenum">
              <a:rPr lang="es-CL" smtClean="0">
                <a:solidFill>
                  <a:srgbClr val="000000"/>
                </a:solidFill>
              </a:rPr>
              <a:pPr defTabSz="914400"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11" name="Marcador de pie de página 2">
            <a:extLst>
              <a:ext uri="{FF2B5EF4-FFF2-40B4-BE49-F238E27FC236}">
                <a16:creationId xmlns:a16="http://schemas.microsoft.com/office/drawing/2014/main" xmlns="" id="{1E9659C6-FF96-0824-B9C3-D5B47FA10CE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47637" y="6474654"/>
            <a:ext cx="10954536" cy="234291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pPr defTabSz="914400"/>
            <a:endParaRPr lang="es-CL" dirty="0">
              <a:solidFill>
                <a:srgbClr val="000000"/>
              </a:solidFill>
            </a:endParaRPr>
          </a:p>
        </p:txBody>
      </p:sp>
      <p:pic>
        <p:nvPicPr>
          <p:cNvPr id="12" name="Gráfico 1">
            <a:extLst>
              <a:ext uri="{FF2B5EF4-FFF2-40B4-BE49-F238E27FC236}">
                <a16:creationId xmlns="" xmlns:a16="http://schemas.microsoft.com/office/drawing/2014/main" id="{8439E0E9-8B07-843D-A908-1FA718640EB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21188" y="5297738"/>
            <a:ext cx="1246637" cy="5158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03294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6584">
          <p15:clr>
            <a:srgbClr val="FBAE40"/>
          </p15:clr>
        </p15:guide>
        <p15:guide id="2" pos="3597">
          <p15:clr>
            <a:srgbClr val="FBAE40"/>
          </p15:clr>
        </p15:guide>
      </p15:sldGuideLst>
    </p:ext>
  </p:extLs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F9C18FE8-0749-2C42-B198-0F4DC5680F4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199" y="1122363"/>
            <a:ext cx="9145191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xmlns="" id="{353F16A4-AA9E-234F-B410-8DFF5002533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199" y="3602038"/>
            <a:ext cx="9145191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8387DE06-223E-2244-A571-B284E954A9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04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907C2FDC-5719-904E-A060-B6058680B9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26D64D61-8CDF-454B-88D3-8B532544DA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2847704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D884828A-099E-2347-B19D-1C80ECCE07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xmlns="" id="{44F8E1F0-E41D-D545-A40F-6BADA7C03D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DF3CF82D-BAD7-484A-98E4-BE01FD421F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04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EE583DE5-4464-0F40-BA02-E9FAF4A93A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D7F6F050-6708-6A42-92DD-7E0D834B63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7298208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81FDD8CC-7D23-574F-832E-026B7C9718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958" y="1709739"/>
            <a:ext cx="1051697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xmlns="" id="{C5EE044A-675D-ED4C-A767-9BC712FA19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958" y="4589464"/>
            <a:ext cx="1051697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61BA5BFD-9126-B440-90F1-F47A625906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04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12731A68-3B59-8C40-AFDF-CCAB350FF1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251D325D-637D-9649-ADB0-A863497477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6183088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17A881FB-4F42-8046-ABC6-B04A53866E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xmlns="" id="{B62BF278-7035-F148-AFCF-4FA196416ED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309" y="1825625"/>
            <a:ext cx="5182275" cy="4351338"/>
          </a:xfrm>
        </p:spPr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xmlns="" id="{FCA97817-07AA-5E4B-97F1-F783A4A740D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3004" y="1825625"/>
            <a:ext cx="5182275" cy="4351338"/>
          </a:xfrm>
        </p:spPr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xmlns="" id="{1EDC9D8F-2F49-EA47-AA74-DD02ACE0F0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04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xmlns="" id="{4A3E329F-D94A-0A44-AC1D-F3C7944AE3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xmlns="" id="{6F475A9C-0876-284E-8D0F-C653941FA7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2839914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8AB87EF9-D2CA-1F40-85B8-4D5B5EA778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897" y="365126"/>
            <a:ext cx="1051697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xmlns="" id="{2F78C959-5C05-5A42-B241-D5C7245124C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898" y="1681163"/>
            <a:ext cx="5158459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xmlns="" id="{201F5C5C-CFA9-8947-9E7F-EAEF055FB92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898" y="2505075"/>
            <a:ext cx="5158459" cy="3684588"/>
          </a:xfrm>
        </p:spPr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xmlns="" id="{62A23890-50DA-BF48-BF51-6D023D6F562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3004" y="1681163"/>
            <a:ext cx="5183863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xmlns="" id="{2669B336-F8D7-1244-9AEF-B3D4CF221F2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3004" y="2505075"/>
            <a:ext cx="5183863" cy="3684588"/>
          </a:xfrm>
        </p:spPr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xmlns="" id="{0EDC099B-DF1B-2449-9A08-9318A4FD28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04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xmlns="" id="{75F737D9-C32F-2346-A5CA-E61781AC72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xmlns="" id="{A1704B97-9C58-804B-8BDF-B18CF564C5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7901396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5F8977A6-5208-D946-973F-FD471EA08A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xmlns="" id="{31CC0EF0-3CAD-9D41-8E5E-8E9F5E3055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04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xmlns="" id="{639BA876-8B0B-7F41-9383-7EA4CF6AEA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xmlns="" id="{DDEC1E57-3812-B243-8646-D1D2C1A176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4274748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xmlns="" id="{BD45F530-C227-BA42-AB23-739B64D07C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04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xmlns="" id="{B554A6B6-6BFD-044B-A1BD-94AE28B5FA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xmlns="" id="{E9094E48-E8C6-FB4D-BF96-987F5B77B9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547903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xmlns="" id="{47515E44-5580-CE40-8C8A-630A5D991AF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6040" y="365126"/>
            <a:ext cx="2629243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xmlns="" id="{00493DAB-3F0B-814D-B310-78CA42CE816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309" y="365126"/>
            <a:ext cx="7735308" cy="5811838"/>
          </a:xfrm>
        </p:spPr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4B10D730-F762-A14F-82F1-9AED870028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DB3C94-6D56-164E-BA24-E6E2F14D2128}" type="datetimeFigureOut">
              <a:rPr lang="es-CL" smtClean="0"/>
              <a:t>04-02-2025</a:t>
            </a:fld>
            <a:endParaRPr lang="es-CL" dirty="0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7DC6B97F-F7E5-2D41-8D56-1E7B0A09BC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81B1FF36-DCD5-0241-97A1-91DED0056B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83AE60-A720-A443-B80B-BB7E1A5C8997}" type="slidenum">
              <a:rPr lang="es-CL" smtClean="0"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630029883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8F24450B-F42B-FB4D-89A9-CA59CC3E39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898" y="457200"/>
            <a:ext cx="3932749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xmlns="" id="{53E39D99-AAAB-4145-A36D-C8F424A998E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863" y="987426"/>
            <a:ext cx="6173004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xmlns="" id="{D69F24E0-BBF4-CC49-B05E-FACC0CEA549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898" y="2057400"/>
            <a:ext cx="3932749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xmlns="" id="{806DF0AF-C098-5B48-829D-DB56DAD24D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04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xmlns="" id="{B13E2C68-9F65-2F48-BDAA-BF825D3174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xmlns="" id="{4D7BD95A-BA1D-F445-8878-128B3761C7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3409828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EE313084-ED99-9E4D-BE6C-2CE0656520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898" y="457200"/>
            <a:ext cx="3932749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xmlns="" id="{8F3066EA-AB7D-814F-8929-75A7F98C1ED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863" y="987426"/>
            <a:ext cx="6173004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CL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xmlns="" id="{C8449CCE-225C-284F-846D-5AC4E78A7CD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898" y="2057400"/>
            <a:ext cx="3932749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xmlns="" id="{30D8D557-0D49-EC48-A3B7-15D7C5C925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04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xmlns="" id="{E1D28889-5E0B-9147-ABC2-A94291DD8E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xmlns="" id="{8DB87C00-1C7E-584F-89FD-D7F418C4E3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1760335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75CA2BA3-7E7A-6042-9A7D-C221AEDC80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xmlns="" id="{6407B4BC-AFE8-3341-B25E-9E072D02B9A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36FFC573-089B-E647-AFE6-37263961C6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04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DA080199-4A5D-7049-B631-4AA803EB2C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65DCC475-665A-E44B-AFDB-9E3FFD8246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9113651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xmlns="" id="{AE300FBC-0B96-604A-8C1A-82366ED1FE5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6037" y="365125"/>
            <a:ext cx="2629242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xmlns="" id="{9CDD020B-FC82-8A4C-842D-35FC3DCBB7D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309" y="365125"/>
            <a:ext cx="7735307" cy="5811838"/>
          </a:xfrm>
        </p:spPr>
        <p:txBody>
          <a:bodyPr vert="eaVert"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20F747D2-B59F-5E4D-B65E-F47D39459A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04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63D477E8-49AB-FF4B-8553-D73F13CB68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035512FF-35ED-1C44-ADB9-F8DF8881FF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349489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7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22F7C922-2B35-488C-90C3-78D02206DF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xmlns="" id="{722033A6-C6C2-40D6-AAB1-5B9FB01C4AC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2A108EC1-DB56-4789-89D8-F63AFC5254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1760D5-0A4F-46CB-966E-D7A789D304D4}" type="datetimeFigureOut">
              <a:rPr lang="es-CL" smtClean="0"/>
              <a:t>04-02-2025</a:t>
            </a:fld>
            <a:endParaRPr lang="es-CL" dirty="0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B5A8A96D-0DB6-4B62-A310-6A525D782B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60AF4B7E-8BF3-43F2-8130-2B50445CA3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3CCA99-CF64-451F-A9BB-06365FA9480C}" type="slidenum">
              <a:rPr lang="es-CL" smtClean="0"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56568075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7900543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ortada con vide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B0334AC3-1221-0D47-8376-248BE6D996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93" y="1596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79" name="Diapositiva de think-cell" r:id="rId5" imgW="7772400" imgH="10058400" progId="TCLayout.ActiveDocument.1">
                  <p:embed/>
                </p:oleObj>
              </mc:Choice>
              <mc:Fallback>
                <p:oleObj name="Diapositiva de think-cell" r:id="rId5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xmlns="" id="{B0334AC3-1221-0D47-8376-248BE6D996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3" y="1596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Asociación Chilena de Seguridad…">
            <a:extLst>
              <a:ext uri="{FF2B5EF4-FFF2-40B4-BE49-F238E27FC236}">
                <a16:creationId xmlns:a16="http://schemas.microsoft.com/office/drawing/2014/main" xmlns="" id="{FF98E1B1-3B0B-3241-93AC-BE8D1054EBCA}"/>
              </a:ext>
            </a:extLst>
          </p:cNvPr>
          <p:cNvSpPr txBox="1"/>
          <p:nvPr userDrawn="1"/>
        </p:nvSpPr>
        <p:spPr>
          <a:xfrm>
            <a:off x="10800471" y="5528099"/>
            <a:ext cx="1039798" cy="64633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anchor="ctr">
            <a:spAutoFit/>
          </a:bodyPr>
          <a:lstStyle/>
          <a:p>
            <a:pPr>
              <a:spcBef>
                <a:spcPts val="600"/>
              </a:spcBef>
              <a:defRPr sz="3000" b="1">
                <a:solidFill>
                  <a:srgbClr val="79B02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sz="1400" dirty="0" err="1">
                <a:solidFill>
                  <a:schemeClr val="tx1"/>
                </a:solidFill>
              </a:rPr>
              <a:t>Asociación</a:t>
            </a:r>
            <a:r>
              <a:rPr sz="1400" dirty="0">
                <a:solidFill>
                  <a:schemeClr val="tx1"/>
                </a:solidFill>
              </a:rPr>
              <a:t> </a:t>
            </a:r>
            <a:r>
              <a:rPr sz="1400" dirty="0" err="1">
                <a:solidFill>
                  <a:schemeClr val="tx1"/>
                </a:solidFill>
              </a:rPr>
              <a:t>Chilena</a:t>
            </a:r>
            <a:r>
              <a:rPr sz="1400" dirty="0">
                <a:solidFill>
                  <a:schemeClr val="tx1"/>
                </a:solidFill>
              </a:rPr>
              <a:t> de </a:t>
            </a:r>
            <a:r>
              <a:rPr sz="1400" dirty="0" err="1">
                <a:solidFill>
                  <a:schemeClr val="tx1"/>
                </a:solidFill>
              </a:rPr>
              <a:t>Seguridad</a:t>
            </a:r>
            <a:endParaRPr sz="1400" dirty="0">
              <a:solidFill>
                <a:schemeClr val="tx1"/>
              </a:solidFill>
            </a:endParaRPr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xmlns="" id="{E516A13A-EE62-714D-B8F2-66374C530E65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940072" y="452446"/>
            <a:ext cx="796330" cy="796227"/>
          </a:xfrm>
          <a:prstGeom prst="rect">
            <a:avLst/>
          </a:prstGeom>
        </p:spPr>
      </p:pic>
      <p:sp>
        <p:nvSpPr>
          <p:cNvPr id="3" name="Marcador de medios 2">
            <a:extLst>
              <a:ext uri="{FF2B5EF4-FFF2-40B4-BE49-F238E27FC236}">
                <a16:creationId xmlns:a16="http://schemas.microsoft.com/office/drawing/2014/main" xmlns="" id="{C973E70C-A82E-2D4A-9356-A6B7BEB2D9E7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10453461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 dirty="0"/>
              <a:t>Doble click para incorporar un video</a:t>
            </a:r>
          </a:p>
        </p:txBody>
      </p:sp>
      <p:sp>
        <p:nvSpPr>
          <p:cNvPr id="16" name="Título 1">
            <a:extLst>
              <a:ext uri="{FF2B5EF4-FFF2-40B4-BE49-F238E27FC236}">
                <a16:creationId xmlns:a16="http://schemas.microsoft.com/office/drawing/2014/main" xmlns="" id="{D10FCCA8-322A-C443-B02C-264CC9F3E5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151" y="1268421"/>
            <a:ext cx="5918660" cy="2021853"/>
          </a:xfrm>
          <a:prstGeom prst="rect">
            <a:avLst/>
          </a:prstGeom>
        </p:spPr>
        <p:txBody>
          <a:bodyPr/>
          <a:lstStyle>
            <a:lvl1pPr>
              <a:lnSpc>
                <a:spcPts val="3996"/>
              </a:lnSpc>
              <a:defRPr sz="3996">
                <a:solidFill>
                  <a:schemeClr val="bg1"/>
                </a:solidFill>
                <a:highlight>
                  <a:srgbClr val="C98539"/>
                </a:highlight>
              </a:defRPr>
            </a:lvl1pPr>
          </a:lstStyle>
          <a:p>
            <a:r>
              <a:rPr lang="es-ES" dirty="0"/>
              <a:t>Título presentación</a:t>
            </a:r>
            <a:br>
              <a:rPr lang="es-ES" dirty="0"/>
            </a:br>
            <a:r>
              <a:rPr lang="es-ES" dirty="0"/>
              <a:t>Máximo 3 líneas</a:t>
            </a:r>
            <a:br>
              <a:rPr lang="es-ES" dirty="0"/>
            </a:br>
            <a:r>
              <a:rPr lang="es-ES" dirty="0"/>
              <a:t>Arial Bold – 40 puntos</a:t>
            </a:r>
            <a:endParaRPr lang="es-CL" dirty="0"/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xmlns="" id="{E34CFCBD-6BB7-F648-9E9C-2744D15597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800471" y="6307032"/>
            <a:ext cx="1039798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Fecha</a:t>
            </a:r>
            <a:endParaRPr lang="es-CL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72277556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5017" userDrawn="1">
          <p15:clr>
            <a:srgbClr val="FBAE40"/>
          </p15:clr>
        </p15:guide>
        <p15:guide id="3" orient="horz" pos="609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ortada con fot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 descr="Imagen que contiene fábrica, exterior, moto acuática, edificio&#10;&#10;Descripción generada automáticamente">
            <a:extLst>
              <a:ext uri="{FF2B5EF4-FFF2-40B4-BE49-F238E27FC236}">
                <a16:creationId xmlns:a16="http://schemas.microsoft.com/office/drawing/2014/main" xmlns="" id="{524F57FB-FFCF-3249-91AB-3A11BFDD261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alphaModFix amt="8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419" r="5852"/>
          <a:stretch/>
        </p:blipFill>
        <p:spPr>
          <a:xfrm>
            <a:off x="0" y="0"/>
            <a:ext cx="10453461" cy="6858000"/>
          </a:xfrm>
          <a:prstGeom prst="rect">
            <a:avLst/>
          </a:prstGeom>
        </p:spPr>
      </p:pic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93" y="1596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03" name="Diapositiva de think-cell" r:id="rId6" imgW="7772400" imgH="10058400" progId="TCLayout.ActiveDocument.1">
                  <p:embed/>
                </p:oleObj>
              </mc:Choice>
              <mc:Fallback>
                <p:oleObj name="Diapositiva de think-cell" r:id="rId6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xmlns="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3" y="1596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Asociación Chilena de Seguridad…">
            <a:extLst>
              <a:ext uri="{FF2B5EF4-FFF2-40B4-BE49-F238E27FC236}">
                <a16:creationId xmlns:a16="http://schemas.microsoft.com/office/drawing/2014/main" xmlns="" id="{FF98E1B1-3B0B-3241-93AC-BE8D1054EBCA}"/>
              </a:ext>
            </a:extLst>
          </p:cNvPr>
          <p:cNvSpPr txBox="1"/>
          <p:nvPr userDrawn="1"/>
        </p:nvSpPr>
        <p:spPr>
          <a:xfrm>
            <a:off x="10693091" y="5859192"/>
            <a:ext cx="1079870" cy="64633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00000"/>
              </a:lnSpc>
              <a:spcBef>
                <a:spcPts val="600"/>
              </a:spcBef>
              <a:defRPr sz="3000" b="1">
                <a:solidFill>
                  <a:srgbClr val="79B02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sz="1400" dirty="0" err="1">
                <a:solidFill>
                  <a:srgbClr val="106737"/>
                </a:solidFill>
              </a:rPr>
              <a:t>Asociación</a:t>
            </a:r>
            <a:r>
              <a:rPr sz="1400" dirty="0">
                <a:solidFill>
                  <a:srgbClr val="106737"/>
                </a:solidFill>
              </a:rPr>
              <a:t> </a:t>
            </a:r>
            <a:r>
              <a:rPr sz="1400" dirty="0" err="1">
                <a:solidFill>
                  <a:srgbClr val="106737"/>
                </a:solidFill>
              </a:rPr>
              <a:t>Chilena</a:t>
            </a:r>
            <a:r>
              <a:rPr sz="1400" dirty="0">
                <a:solidFill>
                  <a:srgbClr val="106737"/>
                </a:solidFill>
              </a:rPr>
              <a:t> de </a:t>
            </a:r>
            <a:r>
              <a:rPr sz="1400" dirty="0" err="1">
                <a:solidFill>
                  <a:srgbClr val="106737"/>
                </a:solidFill>
              </a:rPr>
              <a:t>Seguridad</a:t>
            </a:r>
            <a:endParaRPr sz="1400" dirty="0">
              <a:solidFill>
                <a:srgbClr val="106737"/>
              </a:solidFill>
            </a:endParaRPr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xmlns="" id="{E516A13A-EE62-714D-B8F2-66374C530E65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940072" y="452446"/>
            <a:ext cx="796330" cy="796227"/>
          </a:xfrm>
          <a:prstGeom prst="rect">
            <a:avLst/>
          </a:prstGeom>
        </p:spPr>
      </p:pic>
      <p:sp>
        <p:nvSpPr>
          <p:cNvPr id="8" name="Marcador de texto 7">
            <a:extLst>
              <a:ext uri="{FF2B5EF4-FFF2-40B4-BE49-F238E27FC236}">
                <a16:creationId xmlns:a16="http://schemas.microsoft.com/office/drawing/2014/main" xmlns="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7191" y="6260414"/>
            <a:ext cx="1039798" cy="3968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rgbClr val="106737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Fecha</a:t>
            </a:r>
            <a:endParaRPr lang="es-CL" dirty="0"/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xmlns="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7191" y="1280013"/>
            <a:ext cx="5639607" cy="194269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3996"/>
              </a:lnSpc>
              <a:spcBef>
                <a:spcPts val="0"/>
              </a:spcBef>
              <a:buNone/>
              <a:defRPr sz="3996" b="1">
                <a:solidFill>
                  <a:schemeClr val="accent2"/>
                </a:solidFill>
                <a:highlight>
                  <a:srgbClr val="106737"/>
                </a:highlight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presentación</a:t>
            </a:r>
          </a:p>
          <a:p>
            <a:pPr lvl="0"/>
            <a:r>
              <a:rPr lang="es-ES" dirty="0"/>
              <a:t>Máximo 3 líneas</a:t>
            </a:r>
          </a:p>
          <a:p>
            <a:pPr lvl="0"/>
            <a:r>
              <a:rPr lang="es-ES" dirty="0"/>
              <a:t>Arial Bold – 40 puntos</a:t>
            </a:r>
            <a:endParaRPr lang="es-CL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9391649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2" pos="5017" userDrawn="1">
          <p15:clr>
            <a:srgbClr val="FBAE40"/>
          </p15:clr>
        </p15:guide>
        <p15:guide id="3" pos="5125" userDrawn="1">
          <p15:clr>
            <a:srgbClr val="FBAE40"/>
          </p15:clr>
        </p15:guide>
        <p15:guide id="4" orient="horz" pos="3176" userDrawn="1">
          <p15:clr>
            <a:srgbClr val="FBAE40"/>
          </p15:clr>
        </p15:guide>
        <p15:guide id="5" orient="horz" pos="609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portada con patron">
    <p:bg>
      <p:bgPr>
        <a:solidFill>
          <a:schemeClr val="bg1">
            <a:lumMod val="95000"/>
            <a:alpha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 descr="Patrón de fondo&#10;&#10;Descripción generada automáticamente">
            <a:extLst>
              <a:ext uri="{FF2B5EF4-FFF2-40B4-BE49-F238E27FC236}">
                <a16:creationId xmlns:a16="http://schemas.microsoft.com/office/drawing/2014/main" xmlns="" id="{0CF543EF-BC20-D44B-8976-CAF21AF152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7130" r="6404"/>
          <a:stretch/>
        </p:blipFill>
        <p:spPr>
          <a:xfrm>
            <a:off x="1" y="0"/>
            <a:ext cx="12193588" cy="6858000"/>
          </a:xfrm>
          <a:prstGeom prst="rect">
            <a:avLst/>
          </a:prstGeom>
        </p:spPr>
      </p:pic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93" y="1596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327" name="Diapositiva de think-cell" r:id="rId6" imgW="7772400" imgH="10058400" progId="TCLayout.ActiveDocument.1">
                  <p:embed/>
                </p:oleObj>
              </mc:Choice>
              <mc:Fallback>
                <p:oleObj name="Diapositiva de think-cell" r:id="rId6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xmlns="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3" y="1596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Asociación Chilena de Seguridad…">
            <a:extLst>
              <a:ext uri="{FF2B5EF4-FFF2-40B4-BE49-F238E27FC236}">
                <a16:creationId xmlns:a16="http://schemas.microsoft.com/office/drawing/2014/main" xmlns="" id="{FF98E1B1-3B0B-3241-93AC-BE8D1054EBCA}"/>
              </a:ext>
            </a:extLst>
          </p:cNvPr>
          <p:cNvSpPr txBox="1"/>
          <p:nvPr userDrawn="1"/>
        </p:nvSpPr>
        <p:spPr>
          <a:xfrm>
            <a:off x="10762327" y="5528098"/>
            <a:ext cx="1144855" cy="64633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00000"/>
              </a:lnSpc>
              <a:spcBef>
                <a:spcPts val="600"/>
              </a:spcBef>
              <a:defRPr sz="3000" b="1">
                <a:solidFill>
                  <a:srgbClr val="79B02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sz="1400" dirty="0" err="1">
                <a:solidFill>
                  <a:schemeClr val="bg2"/>
                </a:solidFill>
              </a:rPr>
              <a:t>Asociación</a:t>
            </a:r>
            <a:r>
              <a:rPr sz="1400" dirty="0">
                <a:solidFill>
                  <a:schemeClr val="bg2"/>
                </a:solidFill>
              </a:rPr>
              <a:t> </a:t>
            </a:r>
            <a:r>
              <a:rPr sz="1400" dirty="0" err="1">
                <a:solidFill>
                  <a:schemeClr val="bg2"/>
                </a:solidFill>
              </a:rPr>
              <a:t>Chilena</a:t>
            </a:r>
            <a:r>
              <a:rPr sz="1400" dirty="0">
                <a:solidFill>
                  <a:schemeClr val="bg2"/>
                </a:solidFill>
              </a:rPr>
              <a:t> de </a:t>
            </a:r>
            <a:r>
              <a:rPr sz="1400" dirty="0" err="1">
                <a:solidFill>
                  <a:schemeClr val="bg2"/>
                </a:solidFill>
              </a:rPr>
              <a:t>Seguridad</a:t>
            </a:r>
            <a:endParaRPr sz="1400" dirty="0">
              <a:solidFill>
                <a:schemeClr val="bg2"/>
              </a:solidFill>
            </a:endParaRPr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xmlns="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762331" y="6307032"/>
            <a:ext cx="1193703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Fecha</a:t>
            </a:r>
            <a:endParaRPr lang="es-CL" dirty="0"/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xmlns="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7191" y="1160463"/>
            <a:ext cx="5639607" cy="279822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3996"/>
              </a:lnSpc>
              <a:spcBef>
                <a:spcPts val="0"/>
              </a:spcBef>
              <a:buNone/>
              <a:defRPr sz="3996" b="1">
                <a:solidFill>
                  <a:schemeClr val="accent3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presentación</a:t>
            </a:r>
          </a:p>
          <a:p>
            <a:pPr lvl="0"/>
            <a:r>
              <a:rPr lang="es-ES" dirty="0"/>
              <a:t>Máximo 3 líneas</a:t>
            </a:r>
          </a:p>
          <a:p>
            <a:pPr lvl="0"/>
            <a:r>
              <a:rPr lang="es-ES" dirty="0"/>
              <a:t>Arial Bold – 40 puntos</a:t>
            </a:r>
            <a:endParaRPr lang="es-CL" dirty="0"/>
          </a:p>
        </p:txBody>
      </p:sp>
      <p:pic>
        <p:nvPicPr>
          <p:cNvPr id="15" name="Imagen 14">
            <a:extLst>
              <a:ext uri="{FF2B5EF4-FFF2-40B4-BE49-F238E27FC236}">
                <a16:creationId xmlns:a16="http://schemas.microsoft.com/office/drawing/2014/main" xmlns="" id="{46A82000-D5F4-8949-BD2C-BDC53F0D9503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1145157" y="550984"/>
            <a:ext cx="591248" cy="591171"/>
          </a:xfrm>
          <a:prstGeom prst="rect">
            <a:avLst/>
          </a:prstGeom>
        </p:spPr>
      </p:pic>
      <p:sp>
        <p:nvSpPr>
          <p:cNvPr id="3" name="CuadroTexto 2">
            <a:extLst>
              <a:ext uri="{FF2B5EF4-FFF2-40B4-BE49-F238E27FC236}">
                <a16:creationId xmlns:a16="http://schemas.microsoft.com/office/drawing/2014/main" xmlns="" id="{E3E943E2-2E14-7347-9CE0-C80FFE6C2A3C}"/>
              </a:ext>
            </a:extLst>
          </p:cNvPr>
          <p:cNvSpPr txBox="1"/>
          <p:nvPr userDrawn="1"/>
        </p:nvSpPr>
        <p:spPr>
          <a:xfrm>
            <a:off x="-847603" y="2372398"/>
            <a:ext cx="274007" cy="134378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747" tIns="50747" rIns="50747" bIns="50747" numCol="1" spcCol="38100" rtlCol="0" anchor="ctr">
            <a:spAutoFit/>
          </a:bodyPr>
          <a:lstStyle/>
          <a:p>
            <a:pPr marL="0" marR="0" indent="0" algn="l" defTabSz="2435572" rtl="0" fontAlgn="auto" latinLnBrk="0" hangingPunct="0">
              <a:lnSpc>
                <a:spcPct val="90000"/>
              </a:lnSpc>
              <a:spcBef>
                <a:spcPts val="4496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s-CL" sz="4796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rPr>
              <a:t> </a:t>
            </a: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xmlns="" id="{C97B8F6C-6316-0B49-B9D2-1DCA59C9539E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7527669" y="3662905"/>
            <a:ext cx="2925793" cy="279822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8232603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2" pos="5017" userDrawn="1">
          <p15:clr>
            <a:srgbClr val="FBAE40"/>
          </p15:clr>
        </p15:guide>
        <p15:guide id="3" orient="horz" pos="557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portada con patron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:a16="http://schemas.microsoft.com/office/drawing/2014/main" xmlns="" id="{99B42066-7866-0240-9F49-E05D36DA944D}"/>
              </a:ext>
            </a:extLst>
          </p:cNvPr>
          <p:cNvSpPr/>
          <p:nvPr userDrawn="1"/>
        </p:nvSpPr>
        <p:spPr>
          <a:xfrm>
            <a:off x="8675230" y="3120437"/>
            <a:ext cx="3428896" cy="59428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747" tIns="50747" rIns="50747" bIns="50747" numCol="1" spcCol="38100" rtlCol="0" anchor="ctr">
            <a:spAutoFit/>
          </a:bodyPr>
          <a:lstStyle/>
          <a:p>
            <a:pPr marL="0" marR="0" indent="0" algn="ctr" defTabSz="824562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ES_tradnl" sz="3196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93" y="1596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351" name="Diapositiva de think-cell" r:id="rId5" imgW="7772400" imgH="10058400" progId="TCLayout.ActiveDocument.1">
                  <p:embed/>
                </p:oleObj>
              </mc:Choice>
              <mc:Fallback>
                <p:oleObj name="Diapositiva de think-cell" r:id="rId5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xmlns="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3" y="1596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Asociación Chilena de Seguridad…">
            <a:extLst>
              <a:ext uri="{FF2B5EF4-FFF2-40B4-BE49-F238E27FC236}">
                <a16:creationId xmlns:a16="http://schemas.microsoft.com/office/drawing/2014/main" xmlns="" id="{FF98E1B1-3B0B-3241-93AC-BE8D1054EBCA}"/>
              </a:ext>
            </a:extLst>
          </p:cNvPr>
          <p:cNvSpPr txBox="1"/>
          <p:nvPr userDrawn="1"/>
        </p:nvSpPr>
        <p:spPr>
          <a:xfrm>
            <a:off x="8999042" y="5635821"/>
            <a:ext cx="2030954" cy="43088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00000"/>
              </a:lnSpc>
              <a:spcBef>
                <a:spcPts val="600"/>
              </a:spcBef>
              <a:defRPr sz="3000" b="1">
                <a:solidFill>
                  <a:srgbClr val="79B02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sz="1400" dirty="0" err="1">
                <a:solidFill>
                  <a:schemeClr val="accent1"/>
                </a:solidFill>
              </a:rPr>
              <a:t>Asociación</a:t>
            </a:r>
            <a:r>
              <a:rPr sz="1400" dirty="0">
                <a:solidFill>
                  <a:schemeClr val="accent1"/>
                </a:solidFill>
              </a:rPr>
              <a:t> </a:t>
            </a:r>
            <a:r>
              <a:rPr sz="1400" dirty="0" err="1">
                <a:solidFill>
                  <a:schemeClr val="accent1"/>
                </a:solidFill>
              </a:rPr>
              <a:t>Chilena</a:t>
            </a:r>
            <a:r>
              <a:rPr sz="1400" dirty="0">
                <a:solidFill>
                  <a:schemeClr val="accent1"/>
                </a:solidFill>
              </a:rPr>
              <a:t> de </a:t>
            </a:r>
            <a:r>
              <a:rPr sz="1400" dirty="0" err="1">
                <a:solidFill>
                  <a:schemeClr val="accent1"/>
                </a:solidFill>
              </a:rPr>
              <a:t>Seguridad</a:t>
            </a:r>
            <a:endParaRPr sz="1400" dirty="0">
              <a:solidFill>
                <a:schemeClr val="accent1"/>
              </a:solidFill>
            </a:endParaRPr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xmlns="" id="{E516A13A-EE62-714D-B8F2-66374C530E65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1145157" y="550984"/>
            <a:ext cx="591248" cy="591171"/>
          </a:xfrm>
          <a:prstGeom prst="rect">
            <a:avLst/>
          </a:prstGeom>
        </p:spPr>
      </p:pic>
      <p:sp>
        <p:nvSpPr>
          <p:cNvPr id="8" name="Marcador de texto 7">
            <a:extLst>
              <a:ext uri="{FF2B5EF4-FFF2-40B4-BE49-F238E27FC236}">
                <a16:creationId xmlns:a16="http://schemas.microsoft.com/office/drawing/2014/main" xmlns="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999038" y="6298305"/>
            <a:ext cx="1039798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Fecha</a:t>
            </a:r>
            <a:endParaRPr lang="es-CL" dirty="0"/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xmlns="" id="{35C4F852-544B-1A44-835E-3F7740F060ED}"/>
              </a:ext>
            </a:extLst>
          </p:cNvPr>
          <p:cNvSpPr/>
          <p:nvPr userDrawn="1"/>
        </p:nvSpPr>
        <p:spPr>
          <a:xfrm>
            <a:off x="89463" y="69580"/>
            <a:ext cx="8498095" cy="6696001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747" tIns="50747" rIns="50747" bIns="50747" numCol="1" spcCol="38100" rtlCol="0" anchor="ctr">
            <a:noAutofit/>
          </a:bodyPr>
          <a:lstStyle/>
          <a:p>
            <a:pPr marL="0" marR="0" indent="0" algn="ctr" defTabSz="824562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ES_tradnl" sz="3196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xmlns="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6624" y="1160463"/>
            <a:ext cx="5660174" cy="202878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3996"/>
              </a:lnSpc>
              <a:spcBef>
                <a:spcPts val="0"/>
              </a:spcBef>
              <a:buNone/>
              <a:defRPr sz="3996" b="1">
                <a:solidFill>
                  <a:schemeClr val="accent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presentación</a:t>
            </a:r>
          </a:p>
          <a:p>
            <a:pPr lvl="0"/>
            <a:r>
              <a:rPr lang="es-ES" dirty="0"/>
              <a:t>Máximo 3 líneas</a:t>
            </a:r>
          </a:p>
          <a:p>
            <a:pPr lvl="0"/>
            <a:r>
              <a:rPr lang="es-ES" dirty="0"/>
              <a:t>Arial Bold – 40 puntos</a:t>
            </a:r>
            <a:endParaRPr lang="es-CL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0796427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2" pos="5017" userDrawn="1">
          <p15:clr>
            <a:srgbClr val="FBAE40"/>
          </p15:clr>
        </p15:guide>
        <p15:guide id="3" orient="horz" pos="557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 portada sim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3" y="1596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75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xmlns="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3" y="1596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7">
            <a:extLst>
              <a:ext uri="{FF2B5EF4-FFF2-40B4-BE49-F238E27FC236}">
                <a16:creationId xmlns:a16="http://schemas.microsoft.com/office/drawing/2014/main" xmlns="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9940" y="6231252"/>
            <a:ext cx="5320694" cy="5043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Fecha</a:t>
            </a:r>
            <a:endParaRPr lang="es-CL" dirty="0"/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xmlns="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8790" y="3746811"/>
            <a:ext cx="5602152" cy="1753422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3996"/>
              </a:lnSpc>
              <a:spcBef>
                <a:spcPts val="0"/>
              </a:spcBef>
              <a:buNone/>
              <a:defRPr sz="3996" b="1">
                <a:solidFill>
                  <a:schemeClr val="accent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presentación</a:t>
            </a:r>
          </a:p>
          <a:p>
            <a:pPr lvl="0"/>
            <a:r>
              <a:rPr lang="es-ES" dirty="0"/>
              <a:t>Máximo 3 líneas</a:t>
            </a:r>
          </a:p>
          <a:p>
            <a:pPr lvl="0"/>
            <a:r>
              <a:rPr lang="es-ES" dirty="0"/>
              <a:t>Arial Bold – 40 puntos</a:t>
            </a:r>
            <a:endParaRPr lang="es-CL" dirty="0"/>
          </a:p>
        </p:txBody>
      </p:sp>
      <p:cxnSp>
        <p:nvCxnSpPr>
          <p:cNvPr id="11" name="Conector recto 10">
            <a:extLst>
              <a:ext uri="{FF2B5EF4-FFF2-40B4-BE49-F238E27FC236}">
                <a16:creationId xmlns:a16="http://schemas.microsoft.com/office/drawing/2014/main" xmlns="" id="{AAD3EDA4-60A2-6D48-8A60-78FAD23C1DE5}"/>
              </a:ext>
            </a:extLst>
          </p:cNvPr>
          <p:cNvCxnSpPr>
            <a:cxnSpLocks/>
          </p:cNvCxnSpPr>
          <p:nvPr userDrawn="1"/>
        </p:nvCxnSpPr>
        <p:spPr>
          <a:xfrm>
            <a:off x="448656" y="3746818"/>
            <a:ext cx="0" cy="3140655"/>
          </a:xfrm>
          <a:prstGeom prst="line">
            <a:avLst/>
          </a:prstGeom>
          <a:noFill/>
          <a:ln w="25400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7" name="Imagen 6">
            <a:extLst>
              <a:ext uri="{FF2B5EF4-FFF2-40B4-BE49-F238E27FC236}">
                <a16:creationId xmlns:a16="http://schemas.microsoft.com/office/drawing/2014/main" xmlns="" id="{47DA58F1-71B8-AB43-90F7-8300E93C922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25471" y="550984"/>
            <a:ext cx="591248" cy="591171"/>
          </a:xfrm>
          <a:prstGeom prst="rect">
            <a:avLst/>
          </a:prstGeom>
        </p:spPr>
      </p:pic>
      <p:sp>
        <p:nvSpPr>
          <p:cNvPr id="5" name="Marcador de posición de imagen 4">
            <a:extLst>
              <a:ext uri="{FF2B5EF4-FFF2-40B4-BE49-F238E27FC236}">
                <a16:creationId xmlns:a16="http://schemas.microsoft.com/office/drawing/2014/main" xmlns="" id="{0594BF77-0851-EB45-9E81-37B1FA31036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371950" y="0"/>
            <a:ext cx="4821637" cy="6858000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4549370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2" pos="5017" userDrawn="1">
          <p15:clr>
            <a:srgbClr val="FBAE40"/>
          </p15:clr>
        </p15:guide>
        <p15:guide id="3" pos="2736" userDrawn="1">
          <p15:clr>
            <a:srgbClr val="FBAE40"/>
          </p15:clr>
        </p15:guide>
        <p15:guide id="4" pos="2559" userDrawn="1">
          <p15:clr>
            <a:srgbClr val="FBAE40"/>
          </p15:clr>
        </p15:guide>
        <p15:guide id="5" orient="horz" pos="262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blanco con log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xmlns="" id="{77718931-CD11-D846-99ED-DA7F8C29E6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3" y="1596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99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xmlns="" id="{77718931-CD11-D846-99ED-DA7F8C29E6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3" y="1596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Imagen 2">
            <a:extLst>
              <a:ext uri="{FF2B5EF4-FFF2-40B4-BE49-F238E27FC236}">
                <a16:creationId xmlns:a16="http://schemas.microsoft.com/office/drawing/2014/main" xmlns="" id="{F0F13478-20D7-DB4D-8994-4442E9CD0E5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xmlns="" id="{8EDD70E6-9719-384C-98E1-944F830A10C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400" b="1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409053604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22" userDrawn="1">
          <p15:clr>
            <a:srgbClr val="FBAE40"/>
          </p15:clr>
        </p15:guide>
        <p15:guide id="2" orient="horz" pos="1179" userDrawn="1">
          <p15:clr>
            <a:srgbClr val="FBAE40"/>
          </p15:clr>
        </p15:guide>
        <p15:guide id="3" pos="939" userDrawn="1">
          <p15:clr>
            <a:srgbClr val="FBAE40"/>
          </p15:clr>
        </p15:guide>
        <p15:guide id="4" pos="2500" userDrawn="1">
          <p15:clr>
            <a:srgbClr val="FBAE40"/>
          </p15:clr>
        </p15:guide>
        <p15:guide id="5" pos="4068" userDrawn="1">
          <p15:clr>
            <a:srgbClr val="FBAE40"/>
          </p15:clr>
        </p15:guide>
        <p15:guide id="6" orient="horz" pos="2140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tivos 3 puntos">
    <p:bg>
      <p:bgPr>
        <a:solidFill>
          <a:schemeClr val="accent3">
            <a:lumMod val="20000"/>
            <a:lumOff val="80000"/>
            <a:alpha val="7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to 11" hidden="1">
            <a:extLst>
              <a:ext uri="{FF2B5EF4-FFF2-40B4-BE49-F238E27FC236}">
                <a16:creationId xmlns:a16="http://schemas.microsoft.com/office/drawing/2014/main" xmlns="" id="{5A6D60D2-2296-5945-875B-EFE4B97EFF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3" y="1596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423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12" name="Objeto 11" hidden="1">
                        <a:extLst>
                          <a:ext uri="{FF2B5EF4-FFF2-40B4-BE49-F238E27FC236}">
                            <a16:creationId xmlns:a16="http://schemas.microsoft.com/office/drawing/2014/main" xmlns="" id="{5A6D60D2-2296-5945-875B-EFE4B97EFF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3" y="1596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Imagen 2">
            <a:extLst>
              <a:ext uri="{FF2B5EF4-FFF2-40B4-BE49-F238E27FC236}">
                <a16:creationId xmlns:a16="http://schemas.microsoft.com/office/drawing/2014/main" xmlns="" id="{F0F13478-20D7-DB4D-8994-4442E9CD0E5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13" name="Marcador de texto 7">
            <a:extLst>
              <a:ext uri="{FF2B5EF4-FFF2-40B4-BE49-F238E27FC236}">
                <a16:creationId xmlns:a16="http://schemas.microsoft.com/office/drawing/2014/main" xmlns="" id="{E2B3526A-E352-6B42-9A86-8AA9AFCEC94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44149" y="1753128"/>
            <a:ext cx="5362655" cy="75374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97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14" name="Marcador de texto 7">
            <a:extLst>
              <a:ext uri="{FF2B5EF4-FFF2-40B4-BE49-F238E27FC236}">
                <a16:creationId xmlns:a16="http://schemas.microsoft.com/office/drawing/2014/main" xmlns="" id="{1B703A3D-4A7A-A34D-8B38-7D59E6C8C68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44149" y="3543046"/>
            <a:ext cx="5362655" cy="75374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97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15" name="Marcador de texto 7">
            <a:extLst>
              <a:ext uri="{FF2B5EF4-FFF2-40B4-BE49-F238E27FC236}">
                <a16:creationId xmlns:a16="http://schemas.microsoft.com/office/drawing/2014/main" xmlns="" id="{8D533A59-3325-A644-A68A-14B901EDBB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44149" y="5289304"/>
            <a:ext cx="5362655" cy="75374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97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20" name="Línea">
            <a:extLst>
              <a:ext uri="{FF2B5EF4-FFF2-40B4-BE49-F238E27FC236}">
                <a16:creationId xmlns:a16="http://schemas.microsoft.com/office/drawing/2014/main" xmlns="" id="{ACAFD732-0024-AB4A-B6C4-1C266EDA27A5}"/>
              </a:ext>
            </a:extLst>
          </p:cNvPr>
          <p:cNvSpPr/>
          <p:nvPr userDrawn="1"/>
        </p:nvSpPr>
        <p:spPr>
          <a:xfrm flipV="1">
            <a:off x="4890139" y="1855052"/>
            <a:ext cx="0" cy="5102340"/>
          </a:xfrm>
          <a:prstGeom prst="line">
            <a:avLst/>
          </a:prstGeom>
          <a:ln w="25400">
            <a:solidFill>
              <a:schemeClr val="tx1"/>
            </a:solidFill>
          </a:ln>
        </p:spPr>
        <p:txBody>
          <a:bodyPr lIns="22836" rIns="22836"/>
          <a:lstStyle/>
          <a:p>
            <a:pPr defTabSz="1217024">
              <a:defRPr>
                <a:latin typeface="Arial"/>
                <a:ea typeface="Arial"/>
                <a:cs typeface="Arial"/>
                <a:sym typeface="Arial"/>
              </a:defRPr>
            </a:pPr>
            <a:endParaRPr sz="1200" dirty="0">
              <a:latin typeface="Arial"/>
              <a:cs typeface="Arial"/>
              <a:sym typeface="Arial"/>
            </a:endParaRPr>
          </a:p>
        </p:txBody>
      </p:sp>
      <p:sp>
        <p:nvSpPr>
          <p:cNvPr id="21" name="Círculo">
            <a:extLst>
              <a:ext uri="{FF2B5EF4-FFF2-40B4-BE49-F238E27FC236}">
                <a16:creationId xmlns:a16="http://schemas.microsoft.com/office/drawing/2014/main" xmlns="" id="{226E99C8-C103-A44C-975B-FAA291C5B817}"/>
              </a:ext>
            </a:extLst>
          </p:cNvPr>
          <p:cNvSpPr/>
          <p:nvPr userDrawn="1"/>
        </p:nvSpPr>
        <p:spPr>
          <a:xfrm>
            <a:off x="4826389" y="1808503"/>
            <a:ext cx="135641" cy="135624"/>
          </a:xfrm>
          <a:prstGeom prst="ellipse">
            <a:avLst/>
          </a:prstGeom>
          <a:solidFill>
            <a:schemeClr val="tx1"/>
          </a:solidFill>
          <a:ln w="25400">
            <a:noFill/>
            <a:miter lim="400000"/>
          </a:ln>
        </p:spPr>
        <p:txBody>
          <a:bodyPr lIns="25372" tIns="25372" rIns="25372" bIns="25372" anchor="ctr"/>
          <a:lstStyle/>
          <a:p>
            <a:pPr algn="ctr" defTabSz="412281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 b="1" dirty="0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2" name="Círculo">
            <a:extLst>
              <a:ext uri="{FF2B5EF4-FFF2-40B4-BE49-F238E27FC236}">
                <a16:creationId xmlns:a16="http://schemas.microsoft.com/office/drawing/2014/main" xmlns="" id="{6E4561DF-A601-CB46-8EC7-590DDB38AD6B}"/>
              </a:ext>
            </a:extLst>
          </p:cNvPr>
          <p:cNvSpPr/>
          <p:nvPr userDrawn="1"/>
        </p:nvSpPr>
        <p:spPr>
          <a:xfrm>
            <a:off x="4826389" y="3591818"/>
            <a:ext cx="135641" cy="135624"/>
          </a:xfrm>
          <a:prstGeom prst="ellipse">
            <a:avLst/>
          </a:prstGeom>
          <a:solidFill>
            <a:schemeClr val="tx1"/>
          </a:solidFill>
          <a:ln w="25400">
            <a:noFill/>
            <a:miter lim="400000"/>
          </a:ln>
        </p:spPr>
        <p:txBody>
          <a:bodyPr lIns="25372" tIns="25372" rIns="25372" bIns="25372" anchor="ctr"/>
          <a:lstStyle/>
          <a:p>
            <a:pPr algn="ctr" defTabSz="412281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 b="1" dirty="0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5" name="Círculo">
            <a:extLst>
              <a:ext uri="{FF2B5EF4-FFF2-40B4-BE49-F238E27FC236}">
                <a16:creationId xmlns:a16="http://schemas.microsoft.com/office/drawing/2014/main" xmlns="" id="{588AF64C-EC8A-E946-B69F-F94B0EDE600F}"/>
              </a:ext>
            </a:extLst>
          </p:cNvPr>
          <p:cNvSpPr/>
          <p:nvPr userDrawn="1"/>
        </p:nvSpPr>
        <p:spPr>
          <a:xfrm>
            <a:off x="4822322" y="5344706"/>
            <a:ext cx="135641" cy="135624"/>
          </a:xfrm>
          <a:prstGeom prst="ellipse">
            <a:avLst/>
          </a:prstGeom>
          <a:solidFill>
            <a:schemeClr val="tx1"/>
          </a:solidFill>
          <a:ln w="25400">
            <a:noFill/>
            <a:miter lim="400000"/>
          </a:ln>
        </p:spPr>
        <p:txBody>
          <a:bodyPr lIns="25372" tIns="25372" rIns="25372" bIns="25372" anchor="ctr"/>
          <a:lstStyle/>
          <a:p>
            <a:pPr algn="ctr" defTabSz="412281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 b="1" dirty="0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6" name="Marcador de número de diapositiva 1">
            <a:extLst>
              <a:ext uri="{FF2B5EF4-FFF2-40B4-BE49-F238E27FC236}">
                <a16:creationId xmlns:a16="http://schemas.microsoft.com/office/drawing/2014/main" xmlns="" id="{F73F49AB-4F17-0C44-8DE0-127845E9897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400" b="1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  <p:sp>
        <p:nvSpPr>
          <p:cNvPr id="17" name="Título 1">
            <a:extLst>
              <a:ext uri="{FF2B5EF4-FFF2-40B4-BE49-F238E27FC236}">
                <a16:creationId xmlns:a16="http://schemas.microsoft.com/office/drawing/2014/main" xmlns="" id="{4E9B333E-F9E9-B640-822A-ECDF87BD77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9967" y="458787"/>
            <a:ext cx="9889036" cy="720000"/>
          </a:xfrm>
          <a:prstGeom prst="rect">
            <a:avLst/>
          </a:prstGeom>
        </p:spPr>
        <p:txBody>
          <a:bodyPr lIns="0" tIns="0" rIns="0" bIns="0"/>
          <a:lstStyle>
            <a:lvl1pPr marL="11102" indent="-1110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sz="2396">
                <a:solidFill>
                  <a:schemeClr val="bg2"/>
                </a:solidFill>
              </a:defRPr>
            </a:lvl1pPr>
          </a:lstStyle>
          <a:p>
            <a:r>
              <a:rPr lang="es-ES" dirty="0"/>
              <a:t>Título Arial</a:t>
            </a:r>
            <a:br>
              <a:rPr lang="es-ES" dirty="0"/>
            </a:br>
            <a:r>
              <a:rPr lang="es-ES" dirty="0"/>
              <a:t>Bold 24</a:t>
            </a:r>
            <a:endParaRPr lang="es-CL" dirty="0"/>
          </a:p>
        </p:txBody>
      </p:sp>
      <p:cxnSp>
        <p:nvCxnSpPr>
          <p:cNvPr id="18" name="Conector recto 17">
            <a:extLst>
              <a:ext uri="{FF2B5EF4-FFF2-40B4-BE49-F238E27FC236}">
                <a16:creationId xmlns:a16="http://schemas.microsoft.com/office/drawing/2014/main" xmlns="" id="{69FA0287-96F3-5D42-90E6-09CBE56BB314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329821769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926" userDrawn="1">
          <p15:clr>
            <a:srgbClr val="FBAE40"/>
          </p15:clr>
        </p15:guide>
        <p15:guide id="2" orient="horz" pos="1786" userDrawn="1">
          <p15:clr>
            <a:srgbClr val="FBAE40"/>
          </p15:clr>
        </p15:guide>
        <p15:guide id="3" orient="horz" pos="2570" userDrawn="1">
          <p15:clr>
            <a:srgbClr val="FBAE40"/>
          </p15:clr>
        </p15:guide>
        <p15:guide id="4" orient="horz" pos="2623" userDrawn="1">
          <p15:clr>
            <a:srgbClr val="FBAE40"/>
          </p15:clr>
        </p15:guide>
        <p15:guide id="5" orient="horz" pos="1732" userDrawn="1">
          <p15:clr>
            <a:srgbClr val="FBAE40"/>
          </p15:clr>
        </p15:guide>
        <p15:guide id="6" orient="horz" pos="873" userDrawn="1">
          <p15:clr>
            <a:srgbClr val="FBAE40"/>
          </p15:clr>
        </p15:guide>
        <p15:guide id="7" pos="2421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tivos 4 puntos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:a16="http://schemas.microsoft.com/office/drawing/2014/main" xmlns="" id="{8C5653FB-0B55-DF49-89A0-7BB644B8BB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3" y="1596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447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13" name="Objeto 12" hidden="1">
                        <a:extLst>
                          <a:ext uri="{FF2B5EF4-FFF2-40B4-BE49-F238E27FC236}">
                            <a16:creationId xmlns:a16="http://schemas.microsoft.com/office/drawing/2014/main" xmlns="" id="{8C5653FB-0B55-DF49-89A0-7BB644B8BB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3" y="1596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Línea">
            <a:extLst>
              <a:ext uri="{FF2B5EF4-FFF2-40B4-BE49-F238E27FC236}">
                <a16:creationId xmlns:a16="http://schemas.microsoft.com/office/drawing/2014/main" xmlns="" id="{832578E3-BC08-FD4F-8D2A-99D9B2768843}"/>
              </a:ext>
            </a:extLst>
          </p:cNvPr>
          <p:cNvSpPr/>
          <p:nvPr userDrawn="1"/>
        </p:nvSpPr>
        <p:spPr>
          <a:xfrm flipV="1">
            <a:off x="4890139" y="1855052"/>
            <a:ext cx="0" cy="5102340"/>
          </a:xfrm>
          <a:prstGeom prst="line">
            <a:avLst/>
          </a:prstGeom>
          <a:ln w="25400">
            <a:solidFill>
              <a:schemeClr val="tx1"/>
            </a:solidFill>
          </a:ln>
        </p:spPr>
        <p:txBody>
          <a:bodyPr lIns="22836" rIns="22836"/>
          <a:lstStyle/>
          <a:p>
            <a:pPr defTabSz="1217024">
              <a:defRPr>
                <a:latin typeface="Arial"/>
                <a:ea typeface="Arial"/>
                <a:cs typeface="Arial"/>
                <a:sym typeface="Arial"/>
              </a:defRPr>
            </a:pPr>
            <a:endParaRPr sz="1200" dirty="0">
              <a:latin typeface="Arial"/>
              <a:cs typeface="Arial"/>
              <a:sym typeface="Arial"/>
            </a:endParaRP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xmlns="" id="{F0F13478-20D7-DB4D-8994-4442E9CD0E5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4" name="Círculo">
            <a:extLst>
              <a:ext uri="{FF2B5EF4-FFF2-40B4-BE49-F238E27FC236}">
                <a16:creationId xmlns:a16="http://schemas.microsoft.com/office/drawing/2014/main" xmlns="" id="{BBD7799B-2501-484A-BE95-7AFA110DBA90}"/>
              </a:ext>
            </a:extLst>
          </p:cNvPr>
          <p:cNvSpPr/>
          <p:nvPr userDrawn="1"/>
        </p:nvSpPr>
        <p:spPr>
          <a:xfrm>
            <a:off x="4826389" y="1793189"/>
            <a:ext cx="135641" cy="135624"/>
          </a:xfrm>
          <a:prstGeom prst="ellipse">
            <a:avLst/>
          </a:prstGeom>
          <a:solidFill>
            <a:schemeClr val="tx1"/>
          </a:solidFill>
          <a:ln w="25400">
            <a:noFill/>
            <a:miter lim="400000"/>
          </a:ln>
        </p:spPr>
        <p:txBody>
          <a:bodyPr lIns="25372" tIns="25372" rIns="25372" bIns="25372" anchor="ctr"/>
          <a:lstStyle/>
          <a:p>
            <a:pPr algn="ctr" defTabSz="412281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 b="1" dirty="0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9" name="Marcador de texto 7">
            <a:extLst>
              <a:ext uri="{FF2B5EF4-FFF2-40B4-BE49-F238E27FC236}">
                <a16:creationId xmlns:a16="http://schemas.microsoft.com/office/drawing/2014/main" xmlns="" id="{3D05D424-30B2-7E47-9AB6-C83E1B90EA12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055923" y="1739605"/>
            <a:ext cx="5362655" cy="5043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97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8</a:t>
            </a:r>
            <a:endParaRPr lang="es-CL" dirty="0"/>
          </a:p>
        </p:txBody>
      </p:sp>
      <p:sp>
        <p:nvSpPr>
          <p:cNvPr id="20" name="Marcador de texto 7">
            <a:extLst>
              <a:ext uri="{FF2B5EF4-FFF2-40B4-BE49-F238E27FC236}">
                <a16:creationId xmlns:a16="http://schemas.microsoft.com/office/drawing/2014/main" xmlns="" id="{8893FAC1-DC9D-9440-985E-77B4520EBDFC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5055923" y="2988579"/>
            <a:ext cx="5362655" cy="5043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97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8</a:t>
            </a:r>
            <a:endParaRPr lang="es-CL" dirty="0"/>
          </a:p>
        </p:txBody>
      </p:sp>
      <p:sp>
        <p:nvSpPr>
          <p:cNvPr id="21" name="Marcador de texto 7">
            <a:extLst>
              <a:ext uri="{FF2B5EF4-FFF2-40B4-BE49-F238E27FC236}">
                <a16:creationId xmlns:a16="http://schemas.microsoft.com/office/drawing/2014/main" xmlns="" id="{1CDC6F2A-CD43-DC44-B35F-7AD48BD85D36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5055923" y="4220046"/>
            <a:ext cx="5362655" cy="5043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97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8</a:t>
            </a:r>
            <a:endParaRPr lang="es-CL" dirty="0"/>
          </a:p>
        </p:txBody>
      </p:sp>
      <p:sp>
        <p:nvSpPr>
          <p:cNvPr id="22" name="Marcador de texto 7">
            <a:extLst>
              <a:ext uri="{FF2B5EF4-FFF2-40B4-BE49-F238E27FC236}">
                <a16:creationId xmlns:a16="http://schemas.microsoft.com/office/drawing/2014/main" xmlns="" id="{2E8EE67D-954B-1E4C-87F1-A82DF7427D5B}"/>
              </a:ext>
            </a:extLst>
          </p:cNvPr>
          <p:cNvSpPr>
            <a:spLocks noGrp="1"/>
          </p:cNvSpPr>
          <p:nvPr userDrawn="1">
            <p:ph type="body" sz="quarter" idx="19" hasCustomPrompt="1"/>
          </p:nvPr>
        </p:nvSpPr>
        <p:spPr>
          <a:xfrm>
            <a:off x="5055923" y="5451514"/>
            <a:ext cx="5362655" cy="5043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97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8</a:t>
            </a:r>
            <a:endParaRPr lang="es-CL" dirty="0"/>
          </a:p>
        </p:txBody>
      </p:sp>
      <p:sp>
        <p:nvSpPr>
          <p:cNvPr id="26" name="Círculo">
            <a:extLst>
              <a:ext uri="{FF2B5EF4-FFF2-40B4-BE49-F238E27FC236}">
                <a16:creationId xmlns:a16="http://schemas.microsoft.com/office/drawing/2014/main" xmlns="" id="{26684165-1847-124A-8CE4-11A82C20E684}"/>
              </a:ext>
            </a:extLst>
          </p:cNvPr>
          <p:cNvSpPr/>
          <p:nvPr userDrawn="1"/>
        </p:nvSpPr>
        <p:spPr>
          <a:xfrm>
            <a:off x="4826389" y="3040100"/>
            <a:ext cx="135641" cy="135624"/>
          </a:xfrm>
          <a:prstGeom prst="ellipse">
            <a:avLst/>
          </a:prstGeom>
          <a:solidFill>
            <a:schemeClr val="tx1"/>
          </a:solidFill>
          <a:ln w="25400">
            <a:noFill/>
            <a:miter lim="400000"/>
          </a:ln>
        </p:spPr>
        <p:txBody>
          <a:bodyPr lIns="25372" tIns="25372" rIns="25372" bIns="25372" anchor="ctr"/>
          <a:lstStyle/>
          <a:p>
            <a:pPr algn="ctr" defTabSz="412281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 b="1" dirty="0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8" name="Círculo">
            <a:extLst>
              <a:ext uri="{FF2B5EF4-FFF2-40B4-BE49-F238E27FC236}">
                <a16:creationId xmlns:a16="http://schemas.microsoft.com/office/drawing/2014/main" xmlns="" id="{74EA298D-42E8-344C-8163-3E74A5E92824}"/>
              </a:ext>
            </a:extLst>
          </p:cNvPr>
          <p:cNvSpPr/>
          <p:nvPr userDrawn="1"/>
        </p:nvSpPr>
        <p:spPr>
          <a:xfrm>
            <a:off x="4826389" y="4273882"/>
            <a:ext cx="135641" cy="135624"/>
          </a:xfrm>
          <a:prstGeom prst="ellipse">
            <a:avLst/>
          </a:prstGeom>
          <a:solidFill>
            <a:schemeClr val="tx1"/>
          </a:solidFill>
          <a:ln w="25400">
            <a:noFill/>
            <a:miter lim="400000"/>
          </a:ln>
        </p:spPr>
        <p:txBody>
          <a:bodyPr lIns="25372" tIns="25372" rIns="25372" bIns="25372" anchor="ctr"/>
          <a:lstStyle/>
          <a:p>
            <a:pPr algn="ctr" defTabSz="412281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 b="1" dirty="0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9" name="Círculo">
            <a:extLst>
              <a:ext uri="{FF2B5EF4-FFF2-40B4-BE49-F238E27FC236}">
                <a16:creationId xmlns:a16="http://schemas.microsoft.com/office/drawing/2014/main" xmlns="" id="{26A67EF5-217F-5545-A3D7-AB10AB73A118}"/>
              </a:ext>
            </a:extLst>
          </p:cNvPr>
          <p:cNvSpPr/>
          <p:nvPr userDrawn="1"/>
        </p:nvSpPr>
        <p:spPr>
          <a:xfrm>
            <a:off x="4826389" y="5503291"/>
            <a:ext cx="135641" cy="135624"/>
          </a:xfrm>
          <a:prstGeom prst="ellipse">
            <a:avLst/>
          </a:prstGeom>
          <a:solidFill>
            <a:schemeClr val="tx1"/>
          </a:solidFill>
          <a:ln w="25400">
            <a:noFill/>
            <a:miter lim="400000"/>
          </a:ln>
        </p:spPr>
        <p:txBody>
          <a:bodyPr lIns="25372" tIns="25372" rIns="25372" bIns="25372" anchor="ctr"/>
          <a:lstStyle/>
          <a:p>
            <a:pPr algn="ctr" defTabSz="412281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 b="1" dirty="0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6" name="Marcador de número de diapositiva 1">
            <a:extLst>
              <a:ext uri="{FF2B5EF4-FFF2-40B4-BE49-F238E27FC236}">
                <a16:creationId xmlns:a16="http://schemas.microsoft.com/office/drawing/2014/main" xmlns="" id="{4FA18335-D169-9344-A6C5-91AFEDE3035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400" b="1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  <p:sp>
        <p:nvSpPr>
          <p:cNvPr id="17" name="Título 1">
            <a:extLst>
              <a:ext uri="{FF2B5EF4-FFF2-40B4-BE49-F238E27FC236}">
                <a16:creationId xmlns:a16="http://schemas.microsoft.com/office/drawing/2014/main" xmlns="" id="{8FC2E1CB-47B5-B24C-9758-AA3055BF9F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9967" y="458787"/>
            <a:ext cx="9889036" cy="720000"/>
          </a:xfrm>
          <a:prstGeom prst="rect">
            <a:avLst/>
          </a:prstGeom>
        </p:spPr>
        <p:txBody>
          <a:bodyPr lIns="0" tIns="0" rIns="0" bIns="0"/>
          <a:lstStyle>
            <a:lvl1pPr marL="11102" indent="-1110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sz="2396">
                <a:solidFill>
                  <a:schemeClr val="accent3"/>
                </a:solidFill>
              </a:defRPr>
            </a:lvl1pPr>
          </a:lstStyle>
          <a:p>
            <a:r>
              <a:rPr lang="es-ES" dirty="0"/>
              <a:t>Título Arial</a:t>
            </a:r>
            <a:br>
              <a:rPr lang="es-ES" dirty="0"/>
            </a:br>
            <a:r>
              <a:rPr lang="es-ES" dirty="0"/>
              <a:t>Bold 24</a:t>
            </a:r>
            <a:endParaRPr lang="es-CL" dirty="0"/>
          </a:p>
        </p:txBody>
      </p:sp>
      <p:cxnSp>
        <p:nvCxnSpPr>
          <p:cNvPr id="18" name="Conector recto 17">
            <a:extLst>
              <a:ext uri="{FF2B5EF4-FFF2-40B4-BE49-F238E27FC236}">
                <a16:creationId xmlns:a16="http://schemas.microsoft.com/office/drawing/2014/main" xmlns="" id="{E7E695FD-9A45-7843-9097-C406D605F206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237087614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14" userDrawn="1">
          <p15:clr>
            <a:srgbClr val="FBAE40"/>
          </p15:clr>
        </p15:guide>
        <p15:guide id="2" pos="2926" userDrawn="1">
          <p15:clr>
            <a:srgbClr val="FBAE40"/>
          </p15:clr>
        </p15:guide>
        <p15:guide id="4" orient="horz" pos="1522" userDrawn="1">
          <p15:clr>
            <a:srgbClr val="FBAE40"/>
          </p15:clr>
        </p15:guide>
        <p15:guide id="6" orient="horz" pos="2705" userDrawn="1">
          <p15:clr>
            <a:srgbClr val="FBAE40"/>
          </p15:clr>
        </p15:guide>
        <p15:guide id="7" orient="horz" pos="920" userDrawn="1">
          <p15:clr>
            <a:srgbClr val="FBAE40"/>
          </p15:clr>
        </p15:guide>
        <p15:guide id="8" orient="horz" pos="1646" userDrawn="1">
          <p15:clr>
            <a:srgbClr val="FBAE40"/>
          </p15:clr>
        </p15:guide>
        <p15:guide id="9" orient="horz" pos="868" userDrawn="1">
          <p15:clr>
            <a:srgbClr val="FBAE40"/>
          </p15:clr>
        </p15:guide>
        <p15:guide id="10" orient="horz" pos="1459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tivos 5 puntos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:a16="http://schemas.microsoft.com/office/drawing/2014/main" xmlns="" id="{1B3CF53D-25D4-9646-AB92-B8AA4975E6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3" y="1596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71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13" name="Objeto 12" hidden="1">
                        <a:extLst>
                          <a:ext uri="{FF2B5EF4-FFF2-40B4-BE49-F238E27FC236}">
                            <a16:creationId xmlns:a16="http://schemas.microsoft.com/office/drawing/2014/main" xmlns="" id="{1B3CF53D-25D4-9646-AB92-B8AA4975E6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3" y="1596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Imagen 2">
            <a:extLst>
              <a:ext uri="{FF2B5EF4-FFF2-40B4-BE49-F238E27FC236}">
                <a16:creationId xmlns:a16="http://schemas.microsoft.com/office/drawing/2014/main" xmlns="" id="{F0F13478-20D7-DB4D-8994-4442E9CD0E5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20" name="Título 1">
            <a:extLst>
              <a:ext uri="{FF2B5EF4-FFF2-40B4-BE49-F238E27FC236}">
                <a16:creationId xmlns:a16="http://schemas.microsoft.com/office/drawing/2014/main" xmlns="" id="{85F7771C-C889-3F4D-9422-EADBF00AF25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539967" y="458787"/>
            <a:ext cx="9889036" cy="720000"/>
          </a:xfrm>
          <a:prstGeom prst="rect">
            <a:avLst/>
          </a:prstGeom>
        </p:spPr>
        <p:txBody>
          <a:bodyPr lIns="0" tIns="0" rIns="0" bIns="0"/>
          <a:lstStyle>
            <a:lvl1pPr marL="11102" indent="-1110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4566813" algn="l"/>
              </a:tabLst>
              <a:defRPr sz="2396">
                <a:solidFill>
                  <a:schemeClr val="tx2"/>
                </a:solidFill>
              </a:defRPr>
            </a:lvl1pPr>
          </a:lstStyle>
          <a:p>
            <a:r>
              <a:rPr lang="es-ES" dirty="0"/>
              <a:t>Título Arial</a:t>
            </a:r>
            <a:br>
              <a:rPr lang="es-ES" dirty="0"/>
            </a:br>
            <a:r>
              <a:rPr lang="es-ES" dirty="0"/>
              <a:t>Bold 24</a:t>
            </a:r>
            <a:endParaRPr lang="es-CL" dirty="0"/>
          </a:p>
        </p:txBody>
      </p:sp>
      <p:sp>
        <p:nvSpPr>
          <p:cNvPr id="22" name="Marcador de texto 7">
            <a:extLst>
              <a:ext uri="{FF2B5EF4-FFF2-40B4-BE49-F238E27FC236}">
                <a16:creationId xmlns:a16="http://schemas.microsoft.com/office/drawing/2014/main" xmlns="" id="{033F232C-1A9F-1C4B-B63A-72AD25EAD3C0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066347" y="1754571"/>
            <a:ext cx="5362655" cy="5043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97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8</a:t>
            </a:r>
            <a:endParaRPr lang="es-CL" dirty="0"/>
          </a:p>
        </p:txBody>
      </p:sp>
      <p:sp>
        <p:nvSpPr>
          <p:cNvPr id="23" name="Marcador de texto 7">
            <a:extLst>
              <a:ext uri="{FF2B5EF4-FFF2-40B4-BE49-F238E27FC236}">
                <a16:creationId xmlns:a16="http://schemas.microsoft.com/office/drawing/2014/main" xmlns="" id="{F6EA4AA6-F211-574A-BE31-1CA2875DC6C4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5066347" y="2718577"/>
            <a:ext cx="5362655" cy="5043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97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8</a:t>
            </a:r>
            <a:endParaRPr lang="es-CL" dirty="0"/>
          </a:p>
        </p:txBody>
      </p:sp>
      <p:sp>
        <p:nvSpPr>
          <p:cNvPr id="24" name="Marcador de texto 7">
            <a:extLst>
              <a:ext uri="{FF2B5EF4-FFF2-40B4-BE49-F238E27FC236}">
                <a16:creationId xmlns:a16="http://schemas.microsoft.com/office/drawing/2014/main" xmlns="" id="{863D69D1-EFC7-7243-988E-9B4FE12219E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66347" y="3682578"/>
            <a:ext cx="5362655" cy="5043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97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8</a:t>
            </a:r>
            <a:endParaRPr lang="es-CL" dirty="0"/>
          </a:p>
        </p:txBody>
      </p:sp>
      <p:sp>
        <p:nvSpPr>
          <p:cNvPr id="25" name="Marcador de texto 7">
            <a:extLst>
              <a:ext uri="{FF2B5EF4-FFF2-40B4-BE49-F238E27FC236}">
                <a16:creationId xmlns:a16="http://schemas.microsoft.com/office/drawing/2014/main" xmlns="" id="{C34B0237-B084-C74D-8391-D82249AAD0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066347" y="4646583"/>
            <a:ext cx="5362655" cy="5043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97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8</a:t>
            </a:r>
            <a:endParaRPr lang="es-CL" dirty="0"/>
          </a:p>
        </p:txBody>
      </p:sp>
      <p:sp>
        <p:nvSpPr>
          <p:cNvPr id="26" name="Marcador de texto 7">
            <a:extLst>
              <a:ext uri="{FF2B5EF4-FFF2-40B4-BE49-F238E27FC236}">
                <a16:creationId xmlns:a16="http://schemas.microsoft.com/office/drawing/2014/main" xmlns="" id="{826E294F-5837-2245-BE2D-D36BCA4C5AC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66347" y="5610585"/>
            <a:ext cx="5362655" cy="5043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97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8</a:t>
            </a:r>
            <a:endParaRPr lang="es-CL" dirty="0"/>
          </a:p>
        </p:txBody>
      </p:sp>
      <p:cxnSp>
        <p:nvCxnSpPr>
          <p:cNvPr id="28" name="Conector recto 27">
            <a:extLst>
              <a:ext uri="{FF2B5EF4-FFF2-40B4-BE49-F238E27FC236}">
                <a16:creationId xmlns:a16="http://schemas.microsoft.com/office/drawing/2014/main" xmlns="" id="{328CA6FF-8AB6-A846-8F9F-58E6916942EE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1" name="Línea">
            <a:extLst>
              <a:ext uri="{FF2B5EF4-FFF2-40B4-BE49-F238E27FC236}">
                <a16:creationId xmlns:a16="http://schemas.microsoft.com/office/drawing/2014/main" xmlns="" id="{2F0252DA-0526-E04B-A5AB-565A0999DFA9}"/>
              </a:ext>
            </a:extLst>
          </p:cNvPr>
          <p:cNvSpPr/>
          <p:nvPr userDrawn="1"/>
        </p:nvSpPr>
        <p:spPr>
          <a:xfrm flipV="1">
            <a:off x="4892172" y="1855059"/>
            <a:ext cx="0" cy="5002949"/>
          </a:xfrm>
          <a:prstGeom prst="line">
            <a:avLst/>
          </a:prstGeom>
          <a:ln w="25400">
            <a:solidFill>
              <a:schemeClr val="accent1"/>
            </a:solidFill>
          </a:ln>
        </p:spPr>
        <p:txBody>
          <a:bodyPr lIns="22836" rIns="22836"/>
          <a:lstStyle/>
          <a:p>
            <a:pPr defTabSz="1217024">
              <a:defRPr>
                <a:latin typeface="Arial"/>
                <a:ea typeface="Arial"/>
                <a:cs typeface="Arial"/>
                <a:sym typeface="Arial"/>
              </a:defRPr>
            </a:pPr>
            <a:endParaRPr sz="1200" dirty="0">
              <a:latin typeface="Arial"/>
              <a:cs typeface="Arial"/>
              <a:sym typeface="Arial"/>
            </a:endParaRPr>
          </a:p>
        </p:txBody>
      </p:sp>
      <p:sp>
        <p:nvSpPr>
          <p:cNvPr id="32" name="Círculo">
            <a:extLst>
              <a:ext uri="{FF2B5EF4-FFF2-40B4-BE49-F238E27FC236}">
                <a16:creationId xmlns:a16="http://schemas.microsoft.com/office/drawing/2014/main" xmlns="" id="{5EBD3BAA-E338-E74B-B4DF-431734FDCD27}"/>
              </a:ext>
            </a:extLst>
          </p:cNvPr>
          <p:cNvSpPr/>
          <p:nvPr userDrawn="1"/>
        </p:nvSpPr>
        <p:spPr>
          <a:xfrm>
            <a:off x="4824352" y="1787239"/>
            <a:ext cx="135641" cy="135624"/>
          </a:xfrm>
          <a:prstGeom prst="ellipse">
            <a:avLst/>
          </a:prstGeom>
          <a:solidFill>
            <a:schemeClr val="accent1"/>
          </a:solidFill>
          <a:ln w="25400">
            <a:noFill/>
            <a:miter lim="400000"/>
          </a:ln>
        </p:spPr>
        <p:txBody>
          <a:bodyPr lIns="25372" tIns="25372" rIns="25372" bIns="25372" anchor="ctr"/>
          <a:lstStyle/>
          <a:p>
            <a:pPr algn="ctr" defTabSz="412281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 b="1" dirty="0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4" name="Círculo">
            <a:extLst>
              <a:ext uri="{FF2B5EF4-FFF2-40B4-BE49-F238E27FC236}">
                <a16:creationId xmlns:a16="http://schemas.microsoft.com/office/drawing/2014/main" xmlns="" id="{DB2D0711-71D5-FD4B-9481-A3307B3A6ACA}"/>
              </a:ext>
            </a:extLst>
          </p:cNvPr>
          <p:cNvSpPr/>
          <p:nvPr userDrawn="1"/>
        </p:nvSpPr>
        <p:spPr>
          <a:xfrm>
            <a:off x="4824352" y="5649226"/>
            <a:ext cx="135641" cy="135624"/>
          </a:xfrm>
          <a:prstGeom prst="ellipse">
            <a:avLst/>
          </a:prstGeom>
          <a:solidFill>
            <a:schemeClr val="accent1"/>
          </a:solidFill>
          <a:ln w="25400">
            <a:noFill/>
            <a:miter lim="400000"/>
          </a:ln>
        </p:spPr>
        <p:txBody>
          <a:bodyPr lIns="25372" tIns="25372" rIns="25372" bIns="25372" anchor="ctr"/>
          <a:lstStyle/>
          <a:p>
            <a:pPr algn="ctr" defTabSz="412281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 b="1" dirty="0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5" name="Círculo">
            <a:extLst>
              <a:ext uri="{FF2B5EF4-FFF2-40B4-BE49-F238E27FC236}">
                <a16:creationId xmlns:a16="http://schemas.microsoft.com/office/drawing/2014/main" xmlns="" id="{29E659B7-9E82-A14F-95D0-FF7ED8812D9C}"/>
              </a:ext>
            </a:extLst>
          </p:cNvPr>
          <p:cNvSpPr/>
          <p:nvPr userDrawn="1"/>
        </p:nvSpPr>
        <p:spPr>
          <a:xfrm>
            <a:off x="4824352" y="2766318"/>
            <a:ext cx="135641" cy="135624"/>
          </a:xfrm>
          <a:prstGeom prst="ellipse">
            <a:avLst/>
          </a:prstGeom>
          <a:solidFill>
            <a:schemeClr val="accent1"/>
          </a:solidFill>
          <a:ln w="25400">
            <a:noFill/>
            <a:miter lim="400000"/>
          </a:ln>
        </p:spPr>
        <p:txBody>
          <a:bodyPr lIns="25372" tIns="25372" rIns="25372" bIns="25372" anchor="ctr"/>
          <a:lstStyle/>
          <a:p>
            <a:pPr algn="ctr" defTabSz="412281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 b="1" dirty="0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6" name="Círculo">
            <a:extLst>
              <a:ext uri="{FF2B5EF4-FFF2-40B4-BE49-F238E27FC236}">
                <a16:creationId xmlns:a16="http://schemas.microsoft.com/office/drawing/2014/main" xmlns="" id="{73632F4F-FE52-304C-A320-85BDCD0F035B}"/>
              </a:ext>
            </a:extLst>
          </p:cNvPr>
          <p:cNvSpPr/>
          <p:nvPr userDrawn="1"/>
        </p:nvSpPr>
        <p:spPr>
          <a:xfrm>
            <a:off x="4824352" y="4693551"/>
            <a:ext cx="135641" cy="135624"/>
          </a:xfrm>
          <a:prstGeom prst="ellipse">
            <a:avLst/>
          </a:prstGeom>
          <a:solidFill>
            <a:schemeClr val="accent1"/>
          </a:solidFill>
          <a:ln w="25400">
            <a:noFill/>
            <a:miter lim="400000"/>
          </a:ln>
        </p:spPr>
        <p:txBody>
          <a:bodyPr lIns="25372" tIns="25372" rIns="25372" bIns="25372" anchor="ctr"/>
          <a:lstStyle/>
          <a:p>
            <a:pPr algn="ctr" defTabSz="412281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 b="1" dirty="0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7" name="Círculo">
            <a:extLst>
              <a:ext uri="{FF2B5EF4-FFF2-40B4-BE49-F238E27FC236}">
                <a16:creationId xmlns:a16="http://schemas.microsoft.com/office/drawing/2014/main" xmlns="" id="{8C591567-7AA5-CA4B-AAB8-A9F364E11F51}"/>
              </a:ext>
            </a:extLst>
          </p:cNvPr>
          <p:cNvSpPr/>
          <p:nvPr userDrawn="1"/>
        </p:nvSpPr>
        <p:spPr>
          <a:xfrm>
            <a:off x="4824352" y="3728343"/>
            <a:ext cx="135641" cy="135624"/>
          </a:xfrm>
          <a:prstGeom prst="ellipse">
            <a:avLst/>
          </a:prstGeom>
          <a:solidFill>
            <a:schemeClr val="accent1"/>
          </a:solidFill>
          <a:ln w="25400">
            <a:noFill/>
            <a:miter lim="400000"/>
          </a:ln>
        </p:spPr>
        <p:txBody>
          <a:bodyPr lIns="25372" tIns="25372" rIns="25372" bIns="25372" anchor="ctr"/>
          <a:lstStyle/>
          <a:p>
            <a:pPr algn="ctr" defTabSz="412281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 b="1" dirty="0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8" name="Marcador de número de diapositiva 1">
            <a:extLst>
              <a:ext uri="{FF2B5EF4-FFF2-40B4-BE49-F238E27FC236}">
                <a16:creationId xmlns:a16="http://schemas.microsoft.com/office/drawing/2014/main" xmlns="" id="{8F02C25E-E0A2-3D4A-834C-C91E9B0B28F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400" b="1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26904110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2427" userDrawn="1">
          <p15:clr>
            <a:srgbClr val="FBAE40"/>
          </p15:clr>
        </p15:guide>
        <p15:guide id="9" orient="horz" pos="3291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in fot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xmlns="" id="{99C22FEA-59FA-1540-A939-F039EF19BD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3" y="1596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95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xmlns="" id="{99C22FEA-59FA-1540-A939-F039EF19BD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3" y="1596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Imagen 2">
            <a:extLst>
              <a:ext uri="{FF2B5EF4-FFF2-40B4-BE49-F238E27FC236}">
                <a16:creationId xmlns:a16="http://schemas.microsoft.com/office/drawing/2014/main" xmlns="" id="{F0F13478-20D7-DB4D-8994-4442E9CD0E5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29" name="Marcador de texto 4">
            <a:extLst>
              <a:ext uri="{FF2B5EF4-FFF2-40B4-BE49-F238E27FC236}">
                <a16:creationId xmlns:a16="http://schemas.microsoft.com/office/drawing/2014/main" xmlns="" id="{D4D8DB34-4EB6-A44E-A2E9-0DDD94FE7CC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5100" y="2474555"/>
            <a:ext cx="1541898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6993" b="1">
                <a:solidFill>
                  <a:schemeClr val="bg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30" name="Marcador de texto 6">
            <a:extLst>
              <a:ext uri="{FF2B5EF4-FFF2-40B4-BE49-F238E27FC236}">
                <a16:creationId xmlns:a16="http://schemas.microsoft.com/office/drawing/2014/main" xmlns="" id="{5F4649B2-5AD6-AD4B-9530-EB8FA0B798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5108" y="3678869"/>
            <a:ext cx="1541898" cy="12477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defRPr sz="1797" b="1">
                <a:solidFill>
                  <a:schemeClr val="bg2"/>
                </a:solidFill>
              </a:defRPr>
            </a:lvl1pPr>
            <a:lvl2pPr marL="304455" indent="0">
              <a:buNone/>
              <a:defRPr sz="1499">
                <a:solidFill>
                  <a:schemeClr val="tx2"/>
                </a:solidFill>
              </a:defRPr>
            </a:lvl2pPr>
            <a:lvl3pPr marL="608908" indent="0">
              <a:buNone/>
              <a:defRPr sz="1499">
                <a:solidFill>
                  <a:schemeClr val="tx2"/>
                </a:solidFill>
              </a:defRPr>
            </a:lvl3pPr>
            <a:lvl4pPr marL="913363" indent="0">
              <a:buNone/>
              <a:defRPr sz="1499">
                <a:solidFill>
                  <a:schemeClr val="tx2"/>
                </a:solidFill>
              </a:defRPr>
            </a:lvl4pPr>
            <a:lvl5pPr marL="1217816" indent="0">
              <a:buNone/>
              <a:defRPr sz="1499">
                <a:solidFill>
                  <a:schemeClr val="tx2"/>
                </a:solidFill>
              </a:defRPr>
            </a:lvl5pPr>
          </a:lstStyle>
          <a:p>
            <a:pPr lvl="0"/>
            <a:r>
              <a:rPr lang="es-ES" dirty="0"/>
              <a:t>Hacer clic para modificar los textos</a:t>
            </a:r>
          </a:p>
          <a:p>
            <a:pPr lvl="0"/>
            <a:r>
              <a:rPr lang="es-ES" dirty="0"/>
              <a:t>Arial Bold 18</a:t>
            </a:r>
            <a:endParaRPr lang="es-CL" dirty="0"/>
          </a:p>
        </p:txBody>
      </p:sp>
      <p:sp>
        <p:nvSpPr>
          <p:cNvPr id="33" name="Marcador de texto 4">
            <a:extLst>
              <a:ext uri="{FF2B5EF4-FFF2-40B4-BE49-F238E27FC236}">
                <a16:creationId xmlns:a16="http://schemas.microsoft.com/office/drawing/2014/main" xmlns="" id="{6FA40A4D-EF21-A64B-BF59-22654E0FC56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75082" y="2474555"/>
            <a:ext cx="1538321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6993" b="0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34" name="Marcador de texto 6">
            <a:extLst>
              <a:ext uri="{FF2B5EF4-FFF2-40B4-BE49-F238E27FC236}">
                <a16:creationId xmlns:a16="http://schemas.microsoft.com/office/drawing/2014/main" xmlns="" id="{C2173465-02A7-5A42-9000-8BF6B7BE71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71957" y="3678869"/>
            <a:ext cx="1541898" cy="12477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defRPr sz="1797" b="0">
                <a:solidFill>
                  <a:schemeClr val="tx2"/>
                </a:solidFill>
              </a:defRPr>
            </a:lvl1pPr>
            <a:lvl2pPr marL="304455" indent="0">
              <a:buNone/>
              <a:defRPr sz="1499">
                <a:solidFill>
                  <a:schemeClr val="tx2"/>
                </a:solidFill>
              </a:defRPr>
            </a:lvl2pPr>
            <a:lvl3pPr marL="608908" indent="0">
              <a:buNone/>
              <a:defRPr sz="1499">
                <a:solidFill>
                  <a:schemeClr val="tx2"/>
                </a:solidFill>
              </a:defRPr>
            </a:lvl3pPr>
            <a:lvl4pPr marL="913363" indent="0">
              <a:buNone/>
              <a:defRPr sz="1499">
                <a:solidFill>
                  <a:schemeClr val="tx2"/>
                </a:solidFill>
              </a:defRPr>
            </a:lvl4pPr>
            <a:lvl5pPr marL="1217816" indent="0">
              <a:buNone/>
              <a:defRPr sz="1499">
                <a:solidFill>
                  <a:schemeClr val="tx2"/>
                </a:solidFill>
              </a:defRPr>
            </a:lvl5pPr>
          </a:lstStyle>
          <a:p>
            <a:pPr lvl="0"/>
            <a:r>
              <a:rPr lang="es-ES" dirty="0"/>
              <a:t>Hacer clic para modificar los textos</a:t>
            </a:r>
          </a:p>
          <a:p>
            <a:pPr lvl="0"/>
            <a:r>
              <a:rPr lang="es-ES" dirty="0"/>
              <a:t>Arial 18</a:t>
            </a:r>
          </a:p>
        </p:txBody>
      </p:sp>
      <p:sp>
        <p:nvSpPr>
          <p:cNvPr id="37" name="Marcador de texto 4">
            <a:extLst>
              <a:ext uri="{FF2B5EF4-FFF2-40B4-BE49-F238E27FC236}">
                <a16:creationId xmlns:a16="http://schemas.microsoft.com/office/drawing/2014/main" xmlns="" id="{74DCED2A-9C58-454A-8FD8-C41F4858157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285726" y="2474555"/>
            <a:ext cx="1532952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6993" b="0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38" name="Marcador de texto 6">
            <a:extLst>
              <a:ext uri="{FF2B5EF4-FFF2-40B4-BE49-F238E27FC236}">
                <a16:creationId xmlns:a16="http://schemas.microsoft.com/office/drawing/2014/main" xmlns="" id="{6538BA82-AE2C-E44B-A64C-98F8724D6B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283044" y="3678869"/>
            <a:ext cx="1541898" cy="12477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defRPr sz="1797" b="0">
                <a:solidFill>
                  <a:schemeClr val="tx2"/>
                </a:solidFill>
              </a:defRPr>
            </a:lvl1pPr>
            <a:lvl2pPr marL="304455" indent="0">
              <a:buNone/>
              <a:defRPr sz="1499">
                <a:solidFill>
                  <a:schemeClr val="tx2"/>
                </a:solidFill>
              </a:defRPr>
            </a:lvl2pPr>
            <a:lvl3pPr marL="608908" indent="0">
              <a:buNone/>
              <a:defRPr sz="1499">
                <a:solidFill>
                  <a:schemeClr val="tx2"/>
                </a:solidFill>
              </a:defRPr>
            </a:lvl3pPr>
            <a:lvl4pPr marL="913363" indent="0">
              <a:buNone/>
              <a:defRPr sz="1499">
                <a:solidFill>
                  <a:schemeClr val="tx2"/>
                </a:solidFill>
              </a:defRPr>
            </a:lvl4pPr>
            <a:lvl5pPr marL="1217816" indent="0">
              <a:buNone/>
              <a:defRPr sz="1499">
                <a:solidFill>
                  <a:schemeClr val="tx2"/>
                </a:solidFill>
              </a:defRPr>
            </a:lvl5pPr>
          </a:lstStyle>
          <a:p>
            <a:pPr lvl="0"/>
            <a:r>
              <a:rPr lang="es-ES" dirty="0"/>
              <a:t>Hacer clic para modificar los textos</a:t>
            </a:r>
          </a:p>
          <a:p>
            <a:pPr lvl="0"/>
            <a:r>
              <a:rPr lang="es-ES" dirty="0"/>
              <a:t>Arial 18</a:t>
            </a:r>
          </a:p>
        </p:txBody>
      </p:sp>
      <p:sp>
        <p:nvSpPr>
          <p:cNvPr id="41" name="Marcador de texto 4">
            <a:extLst>
              <a:ext uri="{FF2B5EF4-FFF2-40B4-BE49-F238E27FC236}">
                <a16:creationId xmlns:a16="http://schemas.microsoft.com/office/drawing/2014/main" xmlns="" id="{5E38B824-3D4A-4C46-8594-092BE3AC50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726629" y="2474555"/>
            <a:ext cx="1541893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6993" b="0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42" name="Marcador de texto 6">
            <a:extLst>
              <a:ext uri="{FF2B5EF4-FFF2-40B4-BE49-F238E27FC236}">
                <a16:creationId xmlns:a16="http://schemas.microsoft.com/office/drawing/2014/main" xmlns="" id="{42923E17-3BCD-4148-B7F1-DC9E8DE35FD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729757" y="3678869"/>
            <a:ext cx="1541898" cy="12477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defRPr sz="1797" b="0">
                <a:solidFill>
                  <a:schemeClr val="tx2"/>
                </a:solidFill>
              </a:defRPr>
            </a:lvl1pPr>
            <a:lvl2pPr marL="304455" indent="0">
              <a:buNone/>
              <a:defRPr sz="1499">
                <a:solidFill>
                  <a:schemeClr val="tx2"/>
                </a:solidFill>
              </a:defRPr>
            </a:lvl2pPr>
            <a:lvl3pPr marL="608908" indent="0">
              <a:buNone/>
              <a:defRPr sz="1499">
                <a:solidFill>
                  <a:schemeClr val="tx2"/>
                </a:solidFill>
              </a:defRPr>
            </a:lvl3pPr>
            <a:lvl4pPr marL="913363" indent="0">
              <a:buNone/>
              <a:defRPr sz="1499">
                <a:solidFill>
                  <a:schemeClr val="tx2"/>
                </a:solidFill>
              </a:defRPr>
            </a:lvl4pPr>
            <a:lvl5pPr marL="1217816" indent="0">
              <a:buNone/>
              <a:defRPr sz="1499">
                <a:solidFill>
                  <a:schemeClr val="tx2"/>
                </a:solidFill>
              </a:defRPr>
            </a:lvl5pPr>
          </a:lstStyle>
          <a:p>
            <a:pPr lvl="0"/>
            <a:r>
              <a:rPr lang="es-ES" dirty="0"/>
              <a:t>Hacer clic para modificar los textos</a:t>
            </a:r>
          </a:p>
          <a:p>
            <a:pPr lvl="0"/>
            <a:r>
              <a:rPr lang="es-ES" dirty="0"/>
              <a:t>Arial 18</a:t>
            </a:r>
          </a:p>
        </p:txBody>
      </p:sp>
      <p:sp>
        <p:nvSpPr>
          <p:cNvPr id="45" name="Marcador de texto 4">
            <a:extLst>
              <a:ext uri="{FF2B5EF4-FFF2-40B4-BE49-F238E27FC236}">
                <a16:creationId xmlns:a16="http://schemas.microsoft.com/office/drawing/2014/main" xmlns="" id="{D0656489-C7FB-6E4C-BCFA-62074E56CF5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182282" y="2474555"/>
            <a:ext cx="1541895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6993" b="0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46" name="Marcador de texto 6">
            <a:extLst>
              <a:ext uri="{FF2B5EF4-FFF2-40B4-BE49-F238E27FC236}">
                <a16:creationId xmlns:a16="http://schemas.microsoft.com/office/drawing/2014/main" xmlns="" id="{F1B36306-245B-3644-B2F3-99F2E4A0EE8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0182282" y="3678869"/>
            <a:ext cx="1541898" cy="12477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defRPr sz="1797" b="0">
                <a:solidFill>
                  <a:schemeClr val="tx2"/>
                </a:solidFill>
              </a:defRPr>
            </a:lvl1pPr>
            <a:lvl2pPr marL="304455" indent="0">
              <a:buNone/>
              <a:defRPr sz="1499">
                <a:solidFill>
                  <a:schemeClr val="tx2"/>
                </a:solidFill>
              </a:defRPr>
            </a:lvl2pPr>
            <a:lvl3pPr marL="608908" indent="0">
              <a:buNone/>
              <a:defRPr sz="1499">
                <a:solidFill>
                  <a:schemeClr val="tx2"/>
                </a:solidFill>
              </a:defRPr>
            </a:lvl3pPr>
            <a:lvl4pPr marL="913363" indent="0">
              <a:buNone/>
              <a:defRPr sz="1499">
                <a:solidFill>
                  <a:schemeClr val="tx2"/>
                </a:solidFill>
              </a:defRPr>
            </a:lvl4pPr>
            <a:lvl5pPr marL="1217816" indent="0">
              <a:buNone/>
              <a:defRPr sz="1499">
                <a:solidFill>
                  <a:schemeClr val="tx2"/>
                </a:solidFill>
              </a:defRPr>
            </a:lvl5pPr>
          </a:lstStyle>
          <a:p>
            <a:pPr lvl="0"/>
            <a:r>
              <a:rPr lang="es-ES" dirty="0"/>
              <a:t>Hacer clic para modificar los textos</a:t>
            </a:r>
          </a:p>
          <a:p>
            <a:pPr lvl="0"/>
            <a:r>
              <a:rPr lang="es-ES" dirty="0"/>
              <a:t>Arial 18</a:t>
            </a:r>
          </a:p>
        </p:txBody>
      </p:sp>
      <p:sp>
        <p:nvSpPr>
          <p:cNvPr id="24" name="Marcador de número de diapositiva 1">
            <a:extLst>
              <a:ext uri="{FF2B5EF4-FFF2-40B4-BE49-F238E27FC236}">
                <a16:creationId xmlns:a16="http://schemas.microsoft.com/office/drawing/2014/main" xmlns="" id="{A62BA8AF-38A5-5D4F-8563-B2CC53A243F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400" b="1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  <p:sp>
        <p:nvSpPr>
          <p:cNvPr id="21" name="Título 1">
            <a:extLst>
              <a:ext uri="{FF2B5EF4-FFF2-40B4-BE49-F238E27FC236}">
                <a16:creationId xmlns:a16="http://schemas.microsoft.com/office/drawing/2014/main" xmlns="" id="{7D052E2E-E151-E64A-A37E-82F3AB511F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9967" y="458787"/>
            <a:ext cx="9889036" cy="720000"/>
          </a:xfrm>
          <a:prstGeom prst="rect">
            <a:avLst/>
          </a:prstGeom>
        </p:spPr>
        <p:txBody>
          <a:bodyPr lIns="0" tIns="0" rIns="0" bIns="0"/>
          <a:lstStyle>
            <a:lvl1pPr marL="11102" indent="-1110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sz="2396">
                <a:solidFill>
                  <a:schemeClr val="accent3"/>
                </a:solidFill>
              </a:defRPr>
            </a:lvl1pPr>
          </a:lstStyle>
          <a:p>
            <a:r>
              <a:rPr lang="es-ES" dirty="0"/>
              <a:t>Título Arial</a:t>
            </a:r>
            <a:br>
              <a:rPr lang="es-ES" dirty="0"/>
            </a:br>
            <a:r>
              <a:rPr lang="es-ES" dirty="0"/>
              <a:t>Bold 24</a:t>
            </a:r>
            <a:endParaRPr lang="es-CL" dirty="0"/>
          </a:p>
        </p:txBody>
      </p:sp>
      <p:cxnSp>
        <p:nvCxnSpPr>
          <p:cNvPr id="26" name="Conector recto 25">
            <a:extLst>
              <a:ext uri="{FF2B5EF4-FFF2-40B4-BE49-F238E27FC236}">
                <a16:creationId xmlns:a16="http://schemas.microsoft.com/office/drawing/2014/main" xmlns="" id="{AEDEA3B5-7762-144D-8DAA-B6F8DEC998FB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132889145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183" userDrawn="1">
          <p15:clr>
            <a:srgbClr val="FBAE40"/>
          </p15:clr>
        </p15:guide>
        <p15:guide id="2" pos="2926" userDrawn="1">
          <p15:clr>
            <a:srgbClr val="FBAE40"/>
          </p15:clr>
        </p15:guide>
        <p15:guide id="4" orient="horz" pos="212" userDrawn="1">
          <p15:clr>
            <a:srgbClr val="FBAE40"/>
          </p15:clr>
        </p15:guide>
        <p15:guide id="5" pos="251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n 10">
            <a:extLst>
              <a:ext uri="{FF2B5EF4-FFF2-40B4-BE49-F238E27FC236}">
                <a16:creationId xmlns:a16="http://schemas.microsoft.com/office/drawing/2014/main" xmlns="" id="{18404275-C21C-B344-92AA-B363C5F8F24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036376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con fot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xmlns="" id="{4CC8A321-110D-F84C-BC3A-3F4DCCDAB0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3" y="1596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519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xmlns="" id="{4CC8A321-110D-F84C-BC3A-3F4DCCDAB0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3" y="1596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Marcador de posición de imagen 48">
            <a:extLst>
              <a:ext uri="{FF2B5EF4-FFF2-40B4-BE49-F238E27FC236}">
                <a16:creationId xmlns:a16="http://schemas.microsoft.com/office/drawing/2014/main" xmlns="" id="{1B440493-E3F4-1342-A810-C3F9FAEC89A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84460" y="2470016"/>
            <a:ext cx="1910805" cy="1404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s-CL" dirty="0"/>
              <a:t>Doble click para incorporar una imagen</a:t>
            </a: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xmlns="" id="{F0F13478-20D7-DB4D-8994-4442E9CD0E5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56" name="Marcador de posición de imagen 48">
            <a:extLst>
              <a:ext uri="{FF2B5EF4-FFF2-40B4-BE49-F238E27FC236}">
                <a16:creationId xmlns:a16="http://schemas.microsoft.com/office/drawing/2014/main" xmlns="" id="{E5FAA08C-8A49-324F-84B7-1DB2F697B29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667472" y="2470016"/>
            <a:ext cx="1910805" cy="1404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58" name="Marcador de posición de imagen 48">
            <a:extLst>
              <a:ext uri="{FF2B5EF4-FFF2-40B4-BE49-F238E27FC236}">
                <a16:creationId xmlns:a16="http://schemas.microsoft.com/office/drawing/2014/main" xmlns="" id="{34FF0757-2DED-4B4A-B2FA-00557BE8963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750484" y="2470016"/>
            <a:ext cx="1910805" cy="1404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9" name="Marcador de posición de imagen 48">
            <a:extLst>
              <a:ext uri="{FF2B5EF4-FFF2-40B4-BE49-F238E27FC236}">
                <a16:creationId xmlns:a16="http://schemas.microsoft.com/office/drawing/2014/main" xmlns="" id="{2DFEDD8C-A34C-B34F-A4D7-68530375A69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833496" y="2470016"/>
            <a:ext cx="1910805" cy="1404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15" name="Marcador de texto 7">
            <a:extLst>
              <a:ext uri="{FF2B5EF4-FFF2-40B4-BE49-F238E27FC236}">
                <a16:creationId xmlns:a16="http://schemas.microsoft.com/office/drawing/2014/main" xmlns="" id="{6A7883B1-3426-A549-92EA-BD1A4023ADE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4459" y="4082327"/>
            <a:ext cx="1910746" cy="1563912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spcAft>
                <a:spcPts val="1000"/>
              </a:spcAft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r>
              <a:rPr lang="es-ES" dirty="0">
                <a:solidFill>
                  <a:schemeClr val="bg2"/>
                </a:solidFill>
              </a:rPr>
              <a:t>Texto que indica el capítulo en el que estamos</a:t>
            </a:r>
          </a:p>
          <a:p>
            <a:r>
              <a:rPr lang="es-ES" dirty="0">
                <a:solidFill>
                  <a:schemeClr val="bg2"/>
                </a:solidFill>
              </a:rPr>
              <a:t>Arial Bold 16</a:t>
            </a:r>
          </a:p>
        </p:txBody>
      </p:sp>
      <p:sp>
        <p:nvSpPr>
          <p:cNvPr id="17" name="Marcador de texto 7">
            <a:extLst>
              <a:ext uri="{FF2B5EF4-FFF2-40B4-BE49-F238E27FC236}">
                <a16:creationId xmlns:a16="http://schemas.microsoft.com/office/drawing/2014/main" xmlns="" id="{57CED1DC-47B6-A343-BB28-616597DA9FB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667492" y="4082782"/>
            <a:ext cx="1910746" cy="15634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Nombre Capítulo 2</a:t>
            </a:r>
            <a:br>
              <a:rPr lang="es-ES" dirty="0"/>
            </a:br>
            <a:r>
              <a:rPr lang="es-ES" dirty="0"/>
              <a:t>Arial 16</a:t>
            </a:r>
            <a:endParaRPr lang="es-CL" dirty="0"/>
          </a:p>
        </p:txBody>
      </p:sp>
      <p:sp>
        <p:nvSpPr>
          <p:cNvPr id="18" name="Marcador de texto 7">
            <a:extLst>
              <a:ext uri="{FF2B5EF4-FFF2-40B4-BE49-F238E27FC236}">
                <a16:creationId xmlns:a16="http://schemas.microsoft.com/office/drawing/2014/main" xmlns="" id="{D2B3CAFC-D9A0-A34F-BD98-4510B81946E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524" y="4082782"/>
            <a:ext cx="1910746" cy="15634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Nombre Capítulo 3</a:t>
            </a:r>
            <a:br>
              <a:rPr lang="es-ES" dirty="0"/>
            </a:br>
            <a:r>
              <a:rPr lang="es-ES" dirty="0"/>
              <a:t>Arial 16</a:t>
            </a:r>
            <a:endParaRPr lang="es-CL" dirty="0"/>
          </a:p>
        </p:txBody>
      </p:sp>
      <p:sp>
        <p:nvSpPr>
          <p:cNvPr id="19" name="Marcador de texto 7">
            <a:extLst>
              <a:ext uri="{FF2B5EF4-FFF2-40B4-BE49-F238E27FC236}">
                <a16:creationId xmlns:a16="http://schemas.microsoft.com/office/drawing/2014/main" xmlns="" id="{BB19E2D3-8F9F-1C41-92D8-77569D29022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833555" y="4082782"/>
            <a:ext cx="1910746" cy="15634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Nombre Capítulo 4</a:t>
            </a:r>
            <a:br>
              <a:rPr lang="es-ES" dirty="0"/>
            </a:br>
            <a:r>
              <a:rPr lang="es-ES" dirty="0"/>
              <a:t>Arial 16</a:t>
            </a:r>
            <a:endParaRPr lang="es-CL" dirty="0"/>
          </a:p>
        </p:txBody>
      </p:sp>
      <p:sp>
        <p:nvSpPr>
          <p:cNvPr id="21" name="Marcador de texto 4">
            <a:extLst>
              <a:ext uri="{FF2B5EF4-FFF2-40B4-BE49-F238E27FC236}">
                <a16:creationId xmlns:a16="http://schemas.microsoft.com/office/drawing/2014/main" xmlns="" id="{9440AD7B-097E-C24C-A4EE-30C53E3EC6E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26680" y="1926722"/>
            <a:ext cx="1200112" cy="8792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6993" b="1">
                <a:solidFill>
                  <a:schemeClr val="bg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22" name="Marcador de texto 4">
            <a:extLst>
              <a:ext uri="{FF2B5EF4-FFF2-40B4-BE49-F238E27FC236}">
                <a16:creationId xmlns:a16="http://schemas.microsoft.com/office/drawing/2014/main" xmlns="" id="{0BD763DB-BA4F-3A45-83C4-B7A958FB745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12892" y="1926722"/>
            <a:ext cx="1200112" cy="8792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6993" b="1">
                <a:solidFill>
                  <a:schemeClr val="bg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23" name="Marcador de texto 4">
            <a:extLst>
              <a:ext uri="{FF2B5EF4-FFF2-40B4-BE49-F238E27FC236}">
                <a16:creationId xmlns:a16="http://schemas.microsoft.com/office/drawing/2014/main" xmlns="" id="{D9664D75-F6A1-C840-9C99-011D8555528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599104" y="1926722"/>
            <a:ext cx="1200112" cy="8792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6993" b="1">
                <a:solidFill>
                  <a:schemeClr val="bg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24" name="Marcador de texto 4">
            <a:extLst>
              <a:ext uri="{FF2B5EF4-FFF2-40B4-BE49-F238E27FC236}">
                <a16:creationId xmlns:a16="http://schemas.microsoft.com/office/drawing/2014/main" xmlns="" id="{F564BB9F-E578-B04F-B48F-901C810196C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685316" y="1926722"/>
            <a:ext cx="1200112" cy="8792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6993" b="1">
                <a:solidFill>
                  <a:schemeClr val="bg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20" name="Marcador de número de diapositiva 1">
            <a:extLst>
              <a:ext uri="{FF2B5EF4-FFF2-40B4-BE49-F238E27FC236}">
                <a16:creationId xmlns:a16="http://schemas.microsoft.com/office/drawing/2014/main" xmlns="" id="{FDE431FB-014C-F048-8EDC-BF5DCEA4DFD4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000" dirty="0"/>
          </a:p>
        </p:txBody>
      </p:sp>
      <p:sp>
        <p:nvSpPr>
          <p:cNvPr id="25" name="Título 1">
            <a:extLst>
              <a:ext uri="{FF2B5EF4-FFF2-40B4-BE49-F238E27FC236}">
                <a16:creationId xmlns:a16="http://schemas.microsoft.com/office/drawing/2014/main" xmlns="" id="{40A1A5D0-A042-D549-BD19-F82C25506F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9967" y="458787"/>
            <a:ext cx="9889036" cy="720000"/>
          </a:xfrm>
          <a:prstGeom prst="rect">
            <a:avLst/>
          </a:prstGeom>
        </p:spPr>
        <p:txBody>
          <a:bodyPr lIns="0" tIns="0" rIns="0" bIns="0"/>
          <a:lstStyle>
            <a:lvl1pPr marL="11102" indent="-1110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sz="2396">
                <a:solidFill>
                  <a:schemeClr val="accent3"/>
                </a:solidFill>
              </a:defRPr>
            </a:lvl1pPr>
          </a:lstStyle>
          <a:p>
            <a:r>
              <a:rPr lang="es-ES" dirty="0"/>
              <a:t>Título Arial</a:t>
            </a:r>
            <a:br>
              <a:rPr lang="es-ES" dirty="0"/>
            </a:br>
            <a:r>
              <a:rPr lang="es-ES" dirty="0"/>
              <a:t>Bold 24</a:t>
            </a:r>
            <a:endParaRPr lang="es-CL" dirty="0"/>
          </a:p>
        </p:txBody>
      </p:sp>
      <p:cxnSp>
        <p:nvCxnSpPr>
          <p:cNvPr id="27" name="Conector recto 26">
            <a:extLst>
              <a:ext uri="{FF2B5EF4-FFF2-40B4-BE49-F238E27FC236}">
                <a16:creationId xmlns:a16="http://schemas.microsoft.com/office/drawing/2014/main" xmlns="" id="{D9520A27-4D1A-F840-A66E-86B449130909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268537221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04" userDrawn="1">
          <p15:clr>
            <a:srgbClr val="FBAE40"/>
          </p15:clr>
        </p15:guide>
        <p15:guide id="2" pos="2926" userDrawn="1">
          <p15:clr>
            <a:srgbClr val="FBAE40"/>
          </p15:clr>
        </p15:guide>
        <p15:guide id="3" orient="horz" pos="220" userDrawn="1">
          <p15:clr>
            <a:srgbClr val="FBAE40"/>
          </p15:clr>
        </p15:guide>
        <p15:guide id="4" pos="5381" userDrawn="1">
          <p15:clr>
            <a:srgbClr val="FBAE40"/>
          </p15:clr>
        </p15:guide>
        <p15:guide id="5" orient="horz" pos="1183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con fot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xmlns="" id="{4CC8A321-110D-F84C-BC3A-3F4DCCDAB0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3" y="1596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43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xmlns="" id="{4CC8A321-110D-F84C-BC3A-3F4DCCDAB0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3" y="1596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Marcador de posición de imagen 48">
            <a:extLst>
              <a:ext uri="{FF2B5EF4-FFF2-40B4-BE49-F238E27FC236}">
                <a16:creationId xmlns:a16="http://schemas.microsoft.com/office/drawing/2014/main" xmlns="" id="{1B440493-E3F4-1342-A810-C3F9FAEC89A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84460" y="2470016"/>
            <a:ext cx="1910805" cy="1404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</a:lstStyle>
          <a:p>
            <a:r>
              <a:rPr lang="es-CL" dirty="0"/>
              <a:t>Insertar ícono o foto</a:t>
            </a: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xmlns="" id="{F0F13478-20D7-DB4D-8994-4442E9CD0E5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56" name="Marcador de posición de imagen 48">
            <a:extLst>
              <a:ext uri="{FF2B5EF4-FFF2-40B4-BE49-F238E27FC236}">
                <a16:creationId xmlns:a16="http://schemas.microsoft.com/office/drawing/2014/main" xmlns="" id="{E5FAA08C-8A49-324F-84B7-1DB2F697B29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667472" y="2470016"/>
            <a:ext cx="1910805" cy="1404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</a:lstStyle>
          <a:p>
            <a:r>
              <a:rPr lang="es-CL" dirty="0"/>
              <a:t>Insertar ícono o foto</a:t>
            </a:r>
          </a:p>
        </p:txBody>
      </p:sp>
      <p:sp>
        <p:nvSpPr>
          <p:cNvPr id="58" name="Marcador de posición de imagen 48">
            <a:extLst>
              <a:ext uri="{FF2B5EF4-FFF2-40B4-BE49-F238E27FC236}">
                <a16:creationId xmlns:a16="http://schemas.microsoft.com/office/drawing/2014/main" xmlns="" id="{34FF0757-2DED-4B4A-B2FA-00557BE8963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750484" y="2470016"/>
            <a:ext cx="1910805" cy="1404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</a:lstStyle>
          <a:p>
            <a:r>
              <a:rPr lang="es-CL" dirty="0"/>
              <a:t>Insertar ícono o foto</a:t>
            </a:r>
          </a:p>
        </p:txBody>
      </p:sp>
      <p:sp>
        <p:nvSpPr>
          <p:cNvPr id="9" name="Marcador de posición de imagen 48">
            <a:extLst>
              <a:ext uri="{FF2B5EF4-FFF2-40B4-BE49-F238E27FC236}">
                <a16:creationId xmlns:a16="http://schemas.microsoft.com/office/drawing/2014/main" xmlns="" id="{2DFEDD8C-A34C-B34F-A4D7-68530375A69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833496" y="2470016"/>
            <a:ext cx="1910805" cy="1404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</a:lstStyle>
          <a:p>
            <a:r>
              <a:rPr lang="es-CL" dirty="0"/>
              <a:t>Insertar ícono o foto</a:t>
            </a:r>
          </a:p>
        </p:txBody>
      </p:sp>
      <p:sp>
        <p:nvSpPr>
          <p:cNvPr id="17" name="Marcador de texto 7">
            <a:extLst>
              <a:ext uri="{FF2B5EF4-FFF2-40B4-BE49-F238E27FC236}">
                <a16:creationId xmlns:a16="http://schemas.microsoft.com/office/drawing/2014/main" xmlns="" id="{57CED1DC-47B6-A343-BB28-616597DA9FB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667492" y="4082782"/>
            <a:ext cx="1910746" cy="15634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Nombre Capítulo 2</a:t>
            </a:r>
            <a:br>
              <a:rPr lang="es-ES" dirty="0"/>
            </a:br>
            <a:r>
              <a:rPr lang="es-ES" dirty="0"/>
              <a:t>Arial 16</a:t>
            </a:r>
            <a:endParaRPr lang="es-CL" dirty="0"/>
          </a:p>
        </p:txBody>
      </p:sp>
      <p:sp>
        <p:nvSpPr>
          <p:cNvPr id="18" name="Marcador de texto 7">
            <a:extLst>
              <a:ext uri="{FF2B5EF4-FFF2-40B4-BE49-F238E27FC236}">
                <a16:creationId xmlns:a16="http://schemas.microsoft.com/office/drawing/2014/main" xmlns="" id="{D2B3CAFC-D9A0-A34F-BD98-4510B81946E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524" y="4082782"/>
            <a:ext cx="1910746" cy="15634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Nombre Capítulo 3</a:t>
            </a:r>
            <a:br>
              <a:rPr lang="es-ES" dirty="0"/>
            </a:br>
            <a:r>
              <a:rPr lang="es-ES" dirty="0"/>
              <a:t>Arial 16</a:t>
            </a:r>
            <a:endParaRPr lang="es-CL" dirty="0"/>
          </a:p>
        </p:txBody>
      </p:sp>
      <p:sp>
        <p:nvSpPr>
          <p:cNvPr id="19" name="Marcador de texto 7">
            <a:extLst>
              <a:ext uri="{FF2B5EF4-FFF2-40B4-BE49-F238E27FC236}">
                <a16:creationId xmlns:a16="http://schemas.microsoft.com/office/drawing/2014/main" xmlns="" id="{BB19E2D3-8F9F-1C41-92D8-77569D29022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833555" y="4082782"/>
            <a:ext cx="1910746" cy="15634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Nombre Capítulo 4</a:t>
            </a:r>
            <a:br>
              <a:rPr lang="es-ES" dirty="0"/>
            </a:br>
            <a:r>
              <a:rPr lang="es-ES" dirty="0"/>
              <a:t>Arial 16</a:t>
            </a:r>
            <a:endParaRPr lang="es-CL" dirty="0"/>
          </a:p>
        </p:txBody>
      </p:sp>
      <p:sp>
        <p:nvSpPr>
          <p:cNvPr id="21" name="Marcador de texto 4">
            <a:extLst>
              <a:ext uri="{FF2B5EF4-FFF2-40B4-BE49-F238E27FC236}">
                <a16:creationId xmlns:a16="http://schemas.microsoft.com/office/drawing/2014/main" xmlns="" id="{9440AD7B-097E-C24C-A4EE-30C53E3EC6E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6620" y="1926722"/>
            <a:ext cx="1200112" cy="8792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5393" b="0">
                <a:solidFill>
                  <a:schemeClr val="bg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22" name="Marcador de texto 4">
            <a:extLst>
              <a:ext uri="{FF2B5EF4-FFF2-40B4-BE49-F238E27FC236}">
                <a16:creationId xmlns:a16="http://schemas.microsoft.com/office/drawing/2014/main" xmlns="" id="{0BD763DB-BA4F-3A45-83C4-B7A958FB745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22832" y="1926722"/>
            <a:ext cx="1200112" cy="8792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5393" b="0">
                <a:solidFill>
                  <a:schemeClr val="bg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23" name="Marcador de texto 4">
            <a:extLst>
              <a:ext uri="{FF2B5EF4-FFF2-40B4-BE49-F238E27FC236}">
                <a16:creationId xmlns:a16="http://schemas.microsoft.com/office/drawing/2014/main" xmlns="" id="{D9664D75-F6A1-C840-9C99-011D8555528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609044" y="1926722"/>
            <a:ext cx="1200112" cy="8792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5393" b="0">
                <a:solidFill>
                  <a:schemeClr val="bg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24" name="Marcador de texto 4">
            <a:extLst>
              <a:ext uri="{FF2B5EF4-FFF2-40B4-BE49-F238E27FC236}">
                <a16:creationId xmlns:a16="http://schemas.microsoft.com/office/drawing/2014/main" xmlns="" id="{F564BB9F-E578-B04F-B48F-901C810196C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685316" y="1926722"/>
            <a:ext cx="1200112" cy="8792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5393" b="0">
                <a:solidFill>
                  <a:schemeClr val="bg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20" name="Marcador de número de diapositiva 1">
            <a:extLst>
              <a:ext uri="{FF2B5EF4-FFF2-40B4-BE49-F238E27FC236}">
                <a16:creationId xmlns:a16="http://schemas.microsoft.com/office/drawing/2014/main" xmlns="" id="{FDE431FB-014C-F048-8EDC-BF5DCEA4DFD4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000" dirty="0"/>
          </a:p>
        </p:txBody>
      </p:sp>
      <p:sp>
        <p:nvSpPr>
          <p:cNvPr id="25" name="Título 1">
            <a:extLst>
              <a:ext uri="{FF2B5EF4-FFF2-40B4-BE49-F238E27FC236}">
                <a16:creationId xmlns:a16="http://schemas.microsoft.com/office/drawing/2014/main" xmlns="" id="{40A1A5D0-A042-D549-BD19-F82C25506F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9967" y="458787"/>
            <a:ext cx="9889036" cy="720000"/>
          </a:xfrm>
          <a:prstGeom prst="rect">
            <a:avLst/>
          </a:prstGeom>
        </p:spPr>
        <p:txBody>
          <a:bodyPr lIns="0" tIns="0" rIns="0" bIns="0"/>
          <a:lstStyle>
            <a:lvl1pPr marL="11102" indent="-1110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sz="2396">
                <a:solidFill>
                  <a:schemeClr val="accent3"/>
                </a:solidFill>
              </a:defRPr>
            </a:lvl1pPr>
          </a:lstStyle>
          <a:p>
            <a:r>
              <a:rPr lang="es-ES" dirty="0"/>
              <a:t>Título Arial</a:t>
            </a:r>
            <a:br>
              <a:rPr lang="es-ES" dirty="0"/>
            </a:br>
            <a:r>
              <a:rPr lang="es-ES" dirty="0"/>
              <a:t>Bold 24</a:t>
            </a:r>
            <a:endParaRPr lang="es-CL" dirty="0"/>
          </a:p>
        </p:txBody>
      </p:sp>
      <p:cxnSp>
        <p:nvCxnSpPr>
          <p:cNvPr id="27" name="Conector recto 26">
            <a:extLst>
              <a:ext uri="{FF2B5EF4-FFF2-40B4-BE49-F238E27FC236}">
                <a16:creationId xmlns:a16="http://schemas.microsoft.com/office/drawing/2014/main" xmlns="" id="{D9520A27-4D1A-F840-A66E-86B449130909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6" name="Marcador de texto 7">
            <a:extLst>
              <a:ext uri="{FF2B5EF4-FFF2-40B4-BE49-F238E27FC236}">
                <a16:creationId xmlns:a16="http://schemas.microsoft.com/office/drawing/2014/main" xmlns="" id="{81493573-B933-2E4C-830B-A9B9EBC3DD2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72197" y="4082782"/>
            <a:ext cx="1910746" cy="15634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Nombre Capítulo 1</a:t>
            </a:r>
            <a:br>
              <a:rPr lang="es-ES" dirty="0"/>
            </a:br>
            <a:r>
              <a:rPr lang="es-ES" dirty="0"/>
              <a:t>Arial 16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66276865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04" userDrawn="1">
          <p15:clr>
            <a:srgbClr val="FBAE40"/>
          </p15:clr>
        </p15:guide>
        <p15:guide id="2" pos="2926" userDrawn="1">
          <p15:clr>
            <a:srgbClr val="FBAE40"/>
          </p15:clr>
        </p15:guide>
        <p15:guide id="3" orient="horz" pos="220" userDrawn="1">
          <p15:clr>
            <a:srgbClr val="FBAE40"/>
          </p15:clr>
        </p15:guide>
        <p15:guide id="4" pos="5381" userDrawn="1">
          <p15:clr>
            <a:srgbClr val="FBAE40"/>
          </p15:clr>
        </p15:guide>
        <p15:guide id="5" orient="horz" pos="1183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enumeració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36" name="Marcador de texto 7">
            <a:extLst>
              <a:ext uri="{FF2B5EF4-FFF2-40B4-BE49-F238E27FC236}">
                <a16:creationId xmlns:a16="http://schemas.microsoft.com/office/drawing/2014/main" xmlns="" id="{F98F0A76-E459-7040-92DF-0796E35D78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1280" y="3613261"/>
            <a:ext cx="2401955" cy="22154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53" name="Conector recto 74">
            <a:extLst>
              <a:ext uri="{FF2B5EF4-FFF2-40B4-BE49-F238E27FC236}">
                <a16:creationId xmlns:a16="http://schemas.microsoft.com/office/drawing/2014/main" xmlns="" id="{5BEE3994-12D6-1249-9576-D8A33A059B6C}"/>
              </a:ext>
            </a:extLst>
          </p:cNvPr>
          <p:cNvSpPr/>
          <p:nvPr userDrawn="1"/>
        </p:nvSpPr>
        <p:spPr>
          <a:xfrm flipH="1">
            <a:off x="443765" y="3340780"/>
            <a:ext cx="2405113" cy="0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2836" rIns="22836"/>
          <a:lstStyle/>
          <a:p>
            <a:pPr defTabSz="1217024">
              <a:defRPr>
                <a:latin typeface="Arial"/>
                <a:ea typeface="Arial"/>
                <a:cs typeface="Arial"/>
                <a:sym typeface="Arial"/>
              </a:defRPr>
            </a:pPr>
            <a:endParaRPr sz="1200" dirty="0">
              <a:latin typeface="Arial"/>
              <a:cs typeface="Arial"/>
              <a:sym typeface="Arial"/>
            </a:endParaRPr>
          </a:p>
        </p:txBody>
      </p:sp>
      <p:sp>
        <p:nvSpPr>
          <p:cNvPr id="54" name="Marcador de texto 7">
            <a:extLst>
              <a:ext uri="{FF2B5EF4-FFF2-40B4-BE49-F238E27FC236}">
                <a16:creationId xmlns:a16="http://schemas.microsoft.com/office/drawing/2014/main" xmlns="" id="{42F8710E-2DE8-074A-B6FC-EE460A7B8A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10354" y="2750750"/>
            <a:ext cx="1266273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73" name="Marcador de texto 7">
            <a:extLst>
              <a:ext uri="{FF2B5EF4-FFF2-40B4-BE49-F238E27FC236}">
                <a16:creationId xmlns:a16="http://schemas.microsoft.com/office/drawing/2014/main" xmlns="" id="{09EEDC92-36AB-3740-B395-D2782D6591A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29858" y="3613261"/>
            <a:ext cx="2401955" cy="22154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74" name="Conector recto 74">
            <a:extLst>
              <a:ext uri="{FF2B5EF4-FFF2-40B4-BE49-F238E27FC236}">
                <a16:creationId xmlns:a16="http://schemas.microsoft.com/office/drawing/2014/main" xmlns="" id="{1892524C-5625-4F43-95F1-2336FF662D99}"/>
              </a:ext>
            </a:extLst>
          </p:cNvPr>
          <p:cNvSpPr/>
          <p:nvPr userDrawn="1"/>
        </p:nvSpPr>
        <p:spPr>
          <a:xfrm flipH="1">
            <a:off x="9326700" y="3340780"/>
            <a:ext cx="2405113" cy="0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2836" rIns="22836"/>
          <a:lstStyle/>
          <a:p>
            <a:pPr defTabSz="1217024">
              <a:defRPr>
                <a:latin typeface="Arial"/>
                <a:ea typeface="Arial"/>
                <a:cs typeface="Arial"/>
                <a:sym typeface="Arial"/>
              </a:defRPr>
            </a:pPr>
            <a:endParaRPr sz="1200" dirty="0">
              <a:latin typeface="Arial"/>
              <a:cs typeface="Arial"/>
              <a:sym typeface="Arial"/>
            </a:endParaRPr>
          </a:p>
        </p:txBody>
      </p:sp>
      <p:sp>
        <p:nvSpPr>
          <p:cNvPr id="75" name="Marcador de texto 7">
            <a:extLst>
              <a:ext uri="{FF2B5EF4-FFF2-40B4-BE49-F238E27FC236}">
                <a16:creationId xmlns:a16="http://schemas.microsoft.com/office/drawing/2014/main" xmlns="" id="{FBDEA04A-F7FF-7A4B-A6D6-7B80347F9CC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488936" y="2750750"/>
            <a:ext cx="1327750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</a:p>
          <a:p>
            <a:pPr lvl="0"/>
            <a:endParaRPr lang="es-CL" dirty="0"/>
          </a:p>
        </p:txBody>
      </p:sp>
      <p:sp>
        <p:nvSpPr>
          <p:cNvPr id="79" name="Marcador de texto 7">
            <a:extLst>
              <a:ext uri="{FF2B5EF4-FFF2-40B4-BE49-F238E27FC236}">
                <a16:creationId xmlns:a16="http://schemas.microsoft.com/office/drawing/2014/main" xmlns="" id="{F5423D24-59DD-744A-8BC7-9DE94EAB413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385924" y="3613261"/>
            <a:ext cx="2401955" cy="22154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80" name="Conector recto 74">
            <a:extLst>
              <a:ext uri="{FF2B5EF4-FFF2-40B4-BE49-F238E27FC236}">
                <a16:creationId xmlns:a16="http://schemas.microsoft.com/office/drawing/2014/main" xmlns="" id="{4B745506-C1E7-2346-B2DA-DBC633F63A51}"/>
              </a:ext>
            </a:extLst>
          </p:cNvPr>
          <p:cNvSpPr/>
          <p:nvPr userDrawn="1"/>
        </p:nvSpPr>
        <p:spPr>
          <a:xfrm flipH="1">
            <a:off x="6385924" y="3340780"/>
            <a:ext cx="2405113" cy="0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2836" rIns="22836"/>
          <a:lstStyle/>
          <a:p>
            <a:pPr defTabSz="1217024">
              <a:defRPr>
                <a:latin typeface="Arial"/>
                <a:ea typeface="Arial"/>
                <a:cs typeface="Arial"/>
                <a:sym typeface="Arial"/>
              </a:defRPr>
            </a:pPr>
            <a:endParaRPr sz="1200" dirty="0">
              <a:latin typeface="Arial"/>
              <a:cs typeface="Arial"/>
              <a:sym typeface="Arial"/>
            </a:endParaRPr>
          </a:p>
        </p:txBody>
      </p:sp>
      <p:sp>
        <p:nvSpPr>
          <p:cNvPr id="81" name="Marcador de texto 7">
            <a:extLst>
              <a:ext uri="{FF2B5EF4-FFF2-40B4-BE49-F238E27FC236}">
                <a16:creationId xmlns:a16="http://schemas.microsoft.com/office/drawing/2014/main" xmlns="" id="{A81970EB-E356-9143-BA0B-A32ACF22649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552516" y="2750750"/>
            <a:ext cx="1399329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85" name="Marcador de texto 7">
            <a:extLst>
              <a:ext uri="{FF2B5EF4-FFF2-40B4-BE49-F238E27FC236}">
                <a16:creationId xmlns:a16="http://schemas.microsoft.com/office/drawing/2014/main" xmlns="" id="{CBB12395-7669-B540-A483-15E3C0663AA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415454" y="3613261"/>
            <a:ext cx="2401955" cy="22154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86" name="Conector recto 74">
            <a:extLst>
              <a:ext uri="{FF2B5EF4-FFF2-40B4-BE49-F238E27FC236}">
                <a16:creationId xmlns:a16="http://schemas.microsoft.com/office/drawing/2014/main" xmlns="" id="{F48F5271-2008-8D47-8756-E000ADACC1E6}"/>
              </a:ext>
            </a:extLst>
          </p:cNvPr>
          <p:cNvSpPr/>
          <p:nvPr userDrawn="1"/>
        </p:nvSpPr>
        <p:spPr>
          <a:xfrm flipH="1">
            <a:off x="3415452" y="3340780"/>
            <a:ext cx="2405113" cy="0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2836" rIns="22836"/>
          <a:lstStyle/>
          <a:p>
            <a:pPr defTabSz="1217024">
              <a:defRPr>
                <a:latin typeface="Arial"/>
                <a:ea typeface="Arial"/>
                <a:cs typeface="Arial"/>
                <a:sym typeface="Arial"/>
              </a:defRPr>
            </a:pPr>
            <a:endParaRPr sz="1200" dirty="0">
              <a:latin typeface="Arial"/>
              <a:cs typeface="Arial"/>
              <a:sym typeface="Arial"/>
            </a:endParaRPr>
          </a:p>
        </p:txBody>
      </p:sp>
      <p:sp>
        <p:nvSpPr>
          <p:cNvPr id="87" name="Marcador de texto 7">
            <a:extLst>
              <a:ext uri="{FF2B5EF4-FFF2-40B4-BE49-F238E27FC236}">
                <a16:creationId xmlns:a16="http://schemas.microsoft.com/office/drawing/2014/main" xmlns="" id="{A9A75FA4-4920-B749-9B33-9A58CCB533B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70170" y="2750750"/>
            <a:ext cx="1340337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38" name="Marcador de texto 7">
            <a:extLst>
              <a:ext uri="{FF2B5EF4-FFF2-40B4-BE49-F238E27FC236}">
                <a16:creationId xmlns:a16="http://schemas.microsoft.com/office/drawing/2014/main" xmlns="" id="{0A11C487-0115-5F4D-9992-15BD35A4BCB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sp>
        <p:nvSpPr>
          <p:cNvPr id="42" name="Marcador de posición de imagen 3">
            <a:extLst>
              <a:ext uri="{FF2B5EF4-FFF2-40B4-BE49-F238E27FC236}">
                <a16:creationId xmlns:a16="http://schemas.microsoft.com/office/drawing/2014/main" xmlns="" id="{0E8ACCB5-DDCA-6E42-A59F-C19DA54AD941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451283" y="2552286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43" name="Marcador de posición de imagen 3">
            <a:extLst>
              <a:ext uri="{FF2B5EF4-FFF2-40B4-BE49-F238E27FC236}">
                <a16:creationId xmlns:a16="http://schemas.microsoft.com/office/drawing/2014/main" xmlns="" id="{A6B8CBED-9A8C-2E41-87A9-A4B4A73095C3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3415453" y="2552286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44" name="Marcador de posición de imagen 3">
            <a:extLst>
              <a:ext uri="{FF2B5EF4-FFF2-40B4-BE49-F238E27FC236}">
                <a16:creationId xmlns:a16="http://schemas.microsoft.com/office/drawing/2014/main" xmlns="" id="{F8CBC851-6BCB-564E-829F-58E5E2D2ABA4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6385928" y="2552286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45" name="Marcador de posición de imagen 3">
            <a:extLst>
              <a:ext uri="{FF2B5EF4-FFF2-40B4-BE49-F238E27FC236}">
                <a16:creationId xmlns:a16="http://schemas.microsoft.com/office/drawing/2014/main" xmlns="" id="{34ABF4E0-6CDE-E249-95A2-A7A05A1C8A22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9334224" y="2552286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cxnSp>
        <p:nvCxnSpPr>
          <p:cNvPr id="24" name="Conector recto 23">
            <a:extLst>
              <a:ext uri="{FF2B5EF4-FFF2-40B4-BE49-F238E27FC236}">
                <a16:creationId xmlns:a16="http://schemas.microsoft.com/office/drawing/2014/main" xmlns="" id="{2EB6015A-54E5-CE40-8931-D2744599943C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5" name="Marcador de texto 7">
            <a:extLst>
              <a:ext uri="{FF2B5EF4-FFF2-40B4-BE49-F238E27FC236}">
                <a16:creationId xmlns:a16="http://schemas.microsoft.com/office/drawing/2014/main" xmlns="" id="{9F9272ED-A3F0-4441-B27D-226E5493742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  <p:sp>
        <p:nvSpPr>
          <p:cNvPr id="26" name="Marcador de número de diapositiva 1">
            <a:extLst>
              <a:ext uri="{FF2B5EF4-FFF2-40B4-BE49-F238E27FC236}">
                <a16:creationId xmlns:a16="http://schemas.microsoft.com/office/drawing/2014/main" xmlns="" id="{291A3B44-4A83-A74C-8554-067ABD362AD5}"/>
              </a:ext>
            </a:extLst>
          </p:cNvPr>
          <p:cNvSpPr>
            <a:spLocks noGrp="1"/>
          </p:cNvSpPr>
          <p:nvPr>
            <p:ph type="sldNum" sz="quarter" idx="53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000" dirty="0"/>
          </a:p>
        </p:txBody>
      </p:sp>
    </p:spTree>
    <p:extLst>
      <p:ext uri="{BB962C8B-B14F-4D97-AF65-F5344CB8AC3E}">
        <p14:creationId xmlns:p14="http://schemas.microsoft.com/office/powerpoint/2010/main" val="231666874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1" userDrawn="1">
          <p15:clr>
            <a:srgbClr val="FBAE40"/>
          </p15:clr>
        </p15:guide>
        <p15:guide id="2" pos="213" userDrawn="1">
          <p15:clr>
            <a:srgbClr val="FBAE40"/>
          </p15:clr>
        </p15:guide>
        <p15:guide id="3" pos="1371" userDrawn="1">
          <p15:clr>
            <a:srgbClr val="FBAE40"/>
          </p15:clr>
        </p15:guide>
        <p15:guide id="4" orient="horz" pos="219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o texto y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3" name="Marcador de texto 2">
            <a:extLst>
              <a:ext uri="{FF2B5EF4-FFF2-40B4-BE49-F238E27FC236}">
                <a16:creationId xmlns:a16="http://schemas.microsoft.com/office/drawing/2014/main" xmlns="" id="{79371C62-644E-E74F-8E59-C3049417716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3765" y="1620839"/>
            <a:ext cx="11292564" cy="479821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defRPr sz="1697">
                <a:solidFill>
                  <a:srgbClr val="5F5F5F"/>
                </a:solidFill>
              </a:defRPr>
            </a:lvl1pPr>
            <a:lvl2pPr marL="675507" indent="-371055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600" b="0" i="0" u="none" strike="noStrike" cap="none" spc="0" baseline="0" dirty="0" smtClean="0">
                <a:solidFill>
                  <a:srgbClr val="5F5F5F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29120" indent="-332997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:asvg="http://schemas.microsoft.com/office/drawing/2016/SVG/main" xmlns="" r:embed="rId4"/>
                    </a:ext>
                  </a:extLst>
                </a:blip>
              </a:buBlip>
              <a:tabLst/>
              <a:defRPr sz="1400">
                <a:solidFill>
                  <a:srgbClr val="5F5F5F"/>
                </a:solidFill>
              </a:defRPr>
            </a:lvl3pPr>
            <a:lvl4pPr marL="1340709" indent="-332204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:asvg="http://schemas.microsoft.com/office/drawing/2016/SVG/main" xmlns="" r:embed="rId4"/>
                    </a:ext>
                  </a:extLst>
                </a:blip>
              </a:buBlip>
              <a:tabLst/>
              <a:defRPr sz="1400">
                <a:solidFill>
                  <a:srgbClr val="5F5F5F"/>
                </a:solidFill>
              </a:defRPr>
            </a:lvl4pPr>
            <a:lvl5pPr marL="1673706" indent="-363919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:asvg="http://schemas.microsoft.com/office/drawing/2016/SVG/main" xmlns="" r:embed="rId4"/>
                    </a:ext>
                  </a:extLst>
                </a:blip>
              </a:buBlip>
              <a:tabLst>
                <a:tab pos="1569843" algn="l"/>
              </a:tabLst>
              <a:defRPr sz="1400">
                <a:solidFill>
                  <a:srgbClr val="5F5F5F"/>
                </a:solidFill>
              </a:defRPr>
            </a:lvl5pPr>
          </a:lstStyle>
          <a:p>
            <a:pPr lvl="0"/>
            <a:r>
              <a:rPr lang="es-ES" dirty="0"/>
              <a:t>Párrafo sólo texto Arial 17</a:t>
            </a:r>
          </a:p>
          <a:p>
            <a:pPr lvl="1"/>
            <a:r>
              <a:rPr lang="es-ES" dirty="0" err="1"/>
              <a:t>Bullet</a:t>
            </a:r>
            <a:r>
              <a:rPr lang="es-ES" dirty="0"/>
              <a:t> Arial 16</a:t>
            </a:r>
          </a:p>
          <a:p>
            <a:pPr lvl="2"/>
            <a:r>
              <a:rPr lang="es-ES" dirty="0"/>
              <a:t>Sub </a:t>
            </a:r>
            <a:r>
              <a:rPr lang="es-ES" dirty="0" err="1"/>
              <a:t>Bullet</a:t>
            </a:r>
            <a:r>
              <a:rPr lang="es-ES" dirty="0"/>
              <a:t>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10" name="Marcador de número de diapositiva 1">
            <a:extLst>
              <a:ext uri="{FF2B5EF4-FFF2-40B4-BE49-F238E27FC236}">
                <a16:creationId xmlns:a16="http://schemas.microsoft.com/office/drawing/2014/main" xmlns="" id="{29A3CDD8-DB45-3C4B-9DEB-D4CFB5DFC35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000" dirty="0"/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xmlns="" id="{253576B9-B83C-5443-BD15-16C8689F59A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1" name="Conector recto 10">
            <a:extLst>
              <a:ext uri="{FF2B5EF4-FFF2-40B4-BE49-F238E27FC236}">
                <a16:creationId xmlns:a16="http://schemas.microsoft.com/office/drawing/2014/main" xmlns="" id="{DB116DFD-5134-FA4F-91F9-1CCA47213E9A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2" name="Marcador de texto 7">
            <a:extLst>
              <a:ext uri="{FF2B5EF4-FFF2-40B4-BE49-F238E27FC236}">
                <a16:creationId xmlns:a16="http://schemas.microsoft.com/office/drawing/2014/main" xmlns="" id="{862270DA-512C-4649-A656-87AADE14886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33732623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46" userDrawn="1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Solo texto y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Marcador de medios 8">
            <a:extLst>
              <a:ext uri="{FF2B5EF4-FFF2-40B4-BE49-F238E27FC236}">
                <a16:creationId xmlns:a16="http://schemas.microsoft.com/office/drawing/2014/main" xmlns="" id="{B50F09F5-DFBA-914B-B374-0A611E354B16}"/>
              </a:ext>
            </a:extLst>
          </p:cNvPr>
          <p:cNvSpPr>
            <a:spLocks noGrp="1"/>
          </p:cNvSpPr>
          <p:nvPr>
            <p:ph type="media" sz="quarter" idx="14" hasCustomPrompt="1"/>
          </p:nvPr>
        </p:nvSpPr>
        <p:spPr>
          <a:xfrm>
            <a:off x="1" y="0"/>
            <a:ext cx="12193588" cy="68580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b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s-CL" dirty="0"/>
              <a:t>Insertar Video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8" name="Marcador de texto 7">
            <a:extLst>
              <a:ext uri="{FF2B5EF4-FFF2-40B4-BE49-F238E27FC236}">
                <a16:creationId xmlns:a16="http://schemas.microsoft.com/office/drawing/2014/main" xmlns="" id="{253576B9-B83C-5443-BD15-16C8689F59A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1"/>
                </a:solidFill>
                <a:highlight>
                  <a:srgbClr val="004F59"/>
                </a:highlight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xmlns="" id="{862270DA-512C-4649-A656-87AADE14886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bg1"/>
                </a:solidFill>
                <a:highlight>
                  <a:srgbClr val="004F59"/>
                </a:highlight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  <p:cxnSp>
        <p:nvCxnSpPr>
          <p:cNvPr id="14" name="Conector recto 13">
            <a:extLst>
              <a:ext uri="{FF2B5EF4-FFF2-40B4-BE49-F238E27FC236}">
                <a16:creationId xmlns:a16="http://schemas.microsoft.com/office/drawing/2014/main" xmlns="" id="{1BDF212F-F0A1-C249-8021-3BAB18C79B0E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bg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236635157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46" userDrawn="1">
          <p15:clr>
            <a:srgbClr val="FBAE40"/>
          </p15:clr>
        </p15:guide>
        <p15:guide id="2" pos="2926" userDrawn="1">
          <p15:clr>
            <a:srgbClr val="FBAE40"/>
          </p15:clr>
        </p15:guide>
        <p15:guide id="3" pos="1423" userDrawn="1">
          <p15:clr>
            <a:srgbClr val="FBAE40"/>
          </p15:clr>
        </p15:guide>
        <p15:guide id="4" pos="4491" userDrawn="1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Solo texto y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8" name="Marcador de texto 7">
            <a:extLst>
              <a:ext uri="{FF2B5EF4-FFF2-40B4-BE49-F238E27FC236}">
                <a16:creationId xmlns:a16="http://schemas.microsoft.com/office/drawing/2014/main" xmlns="" id="{253576B9-B83C-5443-BD15-16C8689F59A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1" name="Conector recto 10">
            <a:extLst>
              <a:ext uri="{FF2B5EF4-FFF2-40B4-BE49-F238E27FC236}">
                <a16:creationId xmlns:a16="http://schemas.microsoft.com/office/drawing/2014/main" xmlns="" id="{DB116DFD-5134-FA4F-91F9-1CCA47213E9A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2" name="Marcador de texto 7">
            <a:extLst>
              <a:ext uri="{FF2B5EF4-FFF2-40B4-BE49-F238E27FC236}">
                <a16:creationId xmlns:a16="http://schemas.microsoft.com/office/drawing/2014/main" xmlns="" id="{862270DA-512C-4649-A656-87AADE14886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accent3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  <p:sp>
        <p:nvSpPr>
          <p:cNvPr id="7" name="Marcador de texto 2">
            <a:extLst>
              <a:ext uri="{FF2B5EF4-FFF2-40B4-BE49-F238E27FC236}">
                <a16:creationId xmlns:a16="http://schemas.microsoft.com/office/drawing/2014/main" xmlns="" id="{E9B64F24-F822-574E-B187-6EE8A12CB40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3770" y="1620839"/>
            <a:ext cx="5083112" cy="645284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defRPr sz="1697" b="1">
                <a:solidFill>
                  <a:schemeClr val="tx1"/>
                </a:solidFill>
              </a:defRPr>
            </a:lvl1pPr>
            <a:lvl2pPr marL="675507" indent="-371055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600" b="0" i="0" u="none" strike="noStrike" cap="none" spc="0" baseline="0" dirty="0" smtClean="0">
                <a:solidFill>
                  <a:srgbClr val="5F5F5F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29120" indent="-332997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:asvg="http://schemas.microsoft.com/office/drawing/2016/SVG/main" xmlns="" r:embed="rId4"/>
                    </a:ext>
                  </a:extLst>
                </a:blip>
              </a:buBlip>
              <a:tabLst/>
              <a:defRPr sz="1400">
                <a:solidFill>
                  <a:srgbClr val="5F5F5F"/>
                </a:solidFill>
              </a:defRPr>
            </a:lvl3pPr>
            <a:lvl4pPr marL="1340709" indent="-332204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:asvg="http://schemas.microsoft.com/office/drawing/2016/SVG/main" xmlns="" r:embed="rId4"/>
                    </a:ext>
                  </a:extLst>
                </a:blip>
              </a:buBlip>
              <a:tabLst/>
              <a:defRPr sz="1400">
                <a:solidFill>
                  <a:srgbClr val="5F5F5F"/>
                </a:solidFill>
              </a:defRPr>
            </a:lvl4pPr>
            <a:lvl5pPr marL="1673706" indent="-363919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:asvg="http://schemas.microsoft.com/office/drawing/2016/SVG/main" xmlns="" r:embed="rId4"/>
                    </a:ext>
                  </a:extLst>
                </a:blip>
              </a:buBlip>
              <a:tabLst>
                <a:tab pos="1569843" algn="l"/>
              </a:tabLst>
              <a:defRPr sz="1400">
                <a:solidFill>
                  <a:srgbClr val="5F5F5F"/>
                </a:solidFill>
              </a:defRPr>
            </a:lvl5pPr>
          </a:lstStyle>
          <a:p>
            <a:pPr lvl="0"/>
            <a:r>
              <a:rPr lang="es-ES" dirty="0"/>
              <a:t>Párrafo sólo texto Arial 17</a:t>
            </a:r>
            <a:endParaRPr lang="es-CL" dirty="0"/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xmlns="" id="{4A94FAB7-6C84-9C45-B972-6903FF920FC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390808" y="2120356"/>
            <a:ext cx="3173463" cy="4340777"/>
          </a:xfrm>
          <a:prstGeom prst="rect">
            <a:avLst/>
          </a:prstGeom>
        </p:spPr>
      </p:pic>
      <p:sp>
        <p:nvSpPr>
          <p:cNvPr id="10" name="Marcador de texto 2">
            <a:extLst>
              <a:ext uri="{FF2B5EF4-FFF2-40B4-BE49-F238E27FC236}">
                <a16:creationId xmlns:a16="http://schemas.microsoft.com/office/drawing/2014/main" xmlns="" id="{DEC83E7D-5280-9340-AA1D-4E0B3B7B13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45048" y="1620839"/>
            <a:ext cx="4797912" cy="645284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defRPr sz="1697" b="1">
                <a:solidFill>
                  <a:schemeClr val="tx1"/>
                </a:solidFill>
              </a:defRPr>
            </a:lvl1pPr>
            <a:lvl2pPr marL="675507" indent="-371055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600" b="0" i="0" u="none" strike="noStrike" cap="none" spc="0" baseline="0" dirty="0" smtClean="0">
                <a:solidFill>
                  <a:srgbClr val="5F5F5F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29120" indent="-332997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:asvg="http://schemas.microsoft.com/office/drawing/2016/SVG/main" xmlns="" r:embed="rId4"/>
                    </a:ext>
                  </a:extLst>
                </a:blip>
              </a:buBlip>
              <a:tabLst/>
              <a:defRPr sz="1400">
                <a:solidFill>
                  <a:srgbClr val="5F5F5F"/>
                </a:solidFill>
              </a:defRPr>
            </a:lvl3pPr>
            <a:lvl4pPr marL="1340709" indent="-332204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:asvg="http://schemas.microsoft.com/office/drawing/2016/SVG/main" xmlns="" r:embed="rId4"/>
                    </a:ext>
                  </a:extLst>
                </a:blip>
              </a:buBlip>
              <a:tabLst/>
              <a:defRPr sz="1400">
                <a:solidFill>
                  <a:srgbClr val="5F5F5F"/>
                </a:solidFill>
              </a:defRPr>
            </a:lvl4pPr>
            <a:lvl5pPr marL="1673706" indent="-363919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:asvg="http://schemas.microsoft.com/office/drawing/2016/SVG/main" xmlns="" r:embed="rId4"/>
                    </a:ext>
                  </a:extLst>
                </a:blip>
              </a:buBlip>
              <a:tabLst>
                <a:tab pos="1569843" algn="l"/>
              </a:tabLst>
              <a:defRPr sz="1400">
                <a:solidFill>
                  <a:srgbClr val="5F5F5F"/>
                </a:solidFill>
              </a:defRPr>
            </a:lvl5pPr>
          </a:lstStyle>
          <a:p>
            <a:pPr lvl="0"/>
            <a:r>
              <a:rPr lang="es-ES" dirty="0"/>
              <a:t>Párrafo sólo texto Arial 17</a:t>
            </a:r>
            <a:endParaRPr lang="es-CL" dirty="0"/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xmlns="" id="{5CB79A3D-90F5-2046-9941-CC131C5067AF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979672" y="2120356"/>
            <a:ext cx="4736779" cy="4340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950727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46" userDrawn="1">
          <p15:clr>
            <a:srgbClr val="FBAE40"/>
          </p15:clr>
        </p15:guide>
        <p15:guide id="2" pos="2926" userDrawn="1">
          <p15:clr>
            <a:srgbClr val="FBAE40"/>
          </p15:clr>
        </p15:guide>
        <p15:guide id="3" pos="1423" userDrawn="1">
          <p15:clr>
            <a:srgbClr val="FBAE40"/>
          </p15:clr>
        </p15:guide>
        <p15:guide id="4" pos="4491" userDrawn="1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olo texto y bullet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3" name="Marcador de texto 2">
            <a:extLst>
              <a:ext uri="{FF2B5EF4-FFF2-40B4-BE49-F238E27FC236}">
                <a16:creationId xmlns:a16="http://schemas.microsoft.com/office/drawing/2014/main" xmlns="" id="{79371C62-644E-E74F-8E59-C3049417716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3765" y="1620839"/>
            <a:ext cx="11292564" cy="479821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defRPr sz="1697">
                <a:solidFill>
                  <a:schemeClr val="bg1"/>
                </a:solidFill>
              </a:defRPr>
            </a:lvl1pPr>
            <a:lvl2pPr marL="675507" indent="-371055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ct val="95000"/>
              <a:buFont typeface="Wingdings" pitchFamily="2" charset="2"/>
              <a:buChar char="§"/>
              <a:tabLst/>
              <a:defRPr lang="es-ES" sz="1600" b="0" i="0" u="none" strike="noStrike" cap="none" spc="0" baseline="0" dirty="0" smtClean="0">
                <a:solidFill>
                  <a:schemeClr val="bg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29120" indent="-332997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Tipo de letra del sistema regular"/>
              <a:buChar char="▫"/>
              <a:tabLst/>
              <a:defRPr sz="1400">
                <a:solidFill>
                  <a:schemeClr val="bg1"/>
                </a:solidFill>
              </a:defRPr>
            </a:lvl3pPr>
            <a:lvl4pPr marL="1340709" indent="-332204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Tipo de letra del sistema regular"/>
              <a:buChar char="▫"/>
              <a:tabLst/>
              <a:defRPr sz="1400">
                <a:solidFill>
                  <a:schemeClr val="bg1"/>
                </a:solidFill>
              </a:defRPr>
            </a:lvl4pPr>
            <a:lvl5pPr marL="1673706" indent="-363919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Tipo de letra del sistema regular"/>
              <a:buChar char="▫"/>
              <a:tabLst>
                <a:tab pos="1569843" algn="l"/>
              </a:tabLst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Párrafo sólo texto Arial 17</a:t>
            </a:r>
          </a:p>
          <a:p>
            <a:pPr lvl="1"/>
            <a:r>
              <a:rPr lang="es-ES" dirty="0" err="1"/>
              <a:t>Bullet</a:t>
            </a:r>
            <a:r>
              <a:rPr lang="es-ES" dirty="0"/>
              <a:t> Arial 16</a:t>
            </a:r>
          </a:p>
          <a:p>
            <a:pPr lvl="2"/>
            <a:r>
              <a:rPr lang="es-ES" dirty="0"/>
              <a:t>Sub </a:t>
            </a:r>
            <a:r>
              <a:rPr lang="es-ES" dirty="0" err="1"/>
              <a:t>Bullet</a:t>
            </a:r>
            <a:r>
              <a:rPr lang="es-ES" dirty="0"/>
              <a:t>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10" name="Marcador de número de diapositiva 1">
            <a:extLst>
              <a:ext uri="{FF2B5EF4-FFF2-40B4-BE49-F238E27FC236}">
                <a16:creationId xmlns:a16="http://schemas.microsoft.com/office/drawing/2014/main" xmlns="" id="{29A3CDD8-DB45-3C4B-9DEB-D4CFB5DFC35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xmlns="" id="{253576B9-B83C-5443-BD15-16C8689F59A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1" name="Conector recto 10">
            <a:extLst>
              <a:ext uri="{FF2B5EF4-FFF2-40B4-BE49-F238E27FC236}">
                <a16:creationId xmlns:a16="http://schemas.microsoft.com/office/drawing/2014/main" xmlns="" id="{DB116DFD-5134-FA4F-91F9-1CCA47213E9A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2" name="Marcador de texto 7">
            <a:extLst>
              <a:ext uri="{FF2B5EF4-FFF2-40B4-BE49-F238E27FC236}">
                <a16:creationId xmlns:a16="http://schemas.microsoft.com/office/drawing/2014/main" xmlns="" id="{862270DA-512C-4649-A656-87AADE14886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accent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89066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46" userDrawn="1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olo texto y bullets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3" name="Marcador de texto 2">
            <a:extLst>
              <a:ext uri="{FF2B5EF4-FFF2-40B4-BE49-F238E27FC236}">
                <a16:creationId xmlns:a16="http://schemas.microsoft.com/office/drawing/2014/main" xmlns="" id="{79371C62-644E-E74F-8E59-C3049417716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3765" y="1620839"/>
            <a:ext cx="11292564" cy="479821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defRPr sz="1697">
                <a:solidFill>
                  <a:srgbClr val="5F5F5F"/>
                </a:solidFill>
              </a:defRPr>
            </a:lvl1pPr>
            <a:lvl2pPr marL="675507" indent="-371055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600" b="0" i="0" u="none" strike="noStrike" cap="none" spc="0" baseline="0" dirty="0" smtClean="0">
                <a:solidFill>
                  <a:srgbClr val="5F5F5F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29120" indent="-332997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:asvg="http://schemas.microsoft.com/office/drawing/2016/SVG/main" xmlns="" r:embed="rId4"/>
                    </a:ext>
                  </a:extLst>
                </a:blip>
              </a:buBlip>
              <a:tabLst/>
              <a:defRPr sz="1400">
                <a:solidFill>
                  <a:srgbClr val="5F5F5F"/>
                </a:solidFill>
              </a:defRPr>
            </a:lvl3pPr>
            <a:lvl4pPr marL="1340709" indent="-332204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:asvg="http://schemas.microsoft.com/office/drawing/2016/SVG/main" xmlns="" r:embed="rId4"/>
                    </a:ext>
                  </a:extLst>
                </a:blip>
              </a:buBlip>
              <a:tabLst/>
              <a:defRPr sz="1400">
                <a:solidFill>
                  <a:srgbClr val="5F5F5F"/>
                </a:solidFill>
              </a:defRPr>
            </a:lvl4pPr>
            <a:lvl5pPr marL="1673706" indent="-363919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:asvg="http://schemas.microsoft.com/office/drawing/2016/SVG/main" xmlns="" r:embed="rId4"/>
                    </a:ext>
                  </a:extLst>
                </a:blip>
              </a:buBlip>
              <a:tabLst>
                <a:tab pos="1569843" algn="l"/>
              </a:tabLst>
              <a:defRPr sz="1400">
                <a:solidFill>
                  <a:srgbClr val="5F5F5F"/>
                </a:solidFill>
              </a:defRPr>
            </a:lvl5pPr>
          </a:lstStyle>
          <a:p>
            <a:pPr lvl="0"/>
            <a:r>
              <a:rPr lang="es-ES" dirty="0"/>
              <a:t>Párrafo sólo texto Arial 17</a:t>
            </a:r>
          </a:p>
          <a:p>
            <a:pPr lvl="1"/>
            <a:r>
              <a:rPr lang="es-ES" dirty="0" err="1"/>
              <a:t>Bullet</a:t>
            </a:r>
            <a:r>
              <a:rPr lang="es-ES" dirty="0"/>
              <a:t> Arial 16</a:t>
            </a:r>
          </a:p>
          <a:p>
            <a:pPr lvl="2"/>
            <a:r>
              <a:rPr lang="es-ES" dirty="0"/>
              <a:t>Sub </a:t>
            </a:r>
            <a:r>
              <a:rPr lang="es-ES" dirty="0" err="1"/>
              <a:t>Bullet</a:t>
            </a:r>
            <a:r>
              <a:rPr lang="es-ES" dirty="0"/>
              <a:t>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10" name="Marcador de número de diapositiva 1">
            <a:extLst>
              <a:ext uri="{FF2B5EF4-FFF2-40B4-BE49-F238E27FC236}">
                <a16:creationId xmlns:a16="http://schemas.microsoft.com/office/drawing/2014/main" xmlns="" id="{29A3CDD8-DB45-3C4B-9DEB-D4CFB5DFC35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000" dirty="0"/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xmlns="" id="{253576B9-B83C-5443-BD15-16C8689F59A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1" name="Conector recto 10">
            <a:extLst>
              <a:ext uri="{FF2B5EF4-FFF2-40B4-BE49-F238E27FC236}">
                <a16:creationId xmlns:a16="http://schemas.microsoft.com/office/drawing/2014/main" xmlns="" id="{DB116DFD-5134-FA4F-91F9-1CCA47213E9A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2" name="Marcador de texto 7">
            <a:extLst>
              <a:ext uri="{FF2B5EF4-FFF2-40B4-BE49-F238E27FC236}">
                <a16:creationId xmlns:a16="http://schemas.microsoft.com/office/drawing/2014/main" xmlns="" id="{862270DA-512C-4649-A656-87AADE14886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01852425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46" userDrawn="1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ris-con titulo y texto">
    <p:bg>
      <p:bgPr>
        <a:solidFill>
          <a:srgbClr val="5E5E5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>
            <a:extLst>
              <a:ext uri="{FF2B5EF4-FFF2-40B4-BE49-F238E27FC236}">
                <a16:creationId xmlns:a16="http://schemas.microsoft.com/office/drawing/2014/main" xmlns="" id="{643F07F7-0867-CD45-9983-D25FA61D8DC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3" name="Marcador de texto 2">
            <a:extLst>
              <a:ext uri="{FF2B5EF4-FFF2-40B4-BE49-F238E27FC236}">
                <a16:creationId xmlns:a16="http://schemas.microsoft.com/office/drawing/2014/main" xmlns="" id="{CBD9B6F1-F225-3642-A507-6C25CF73371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3765" y="1620839"/>
            <a:ext cx="11292564" cy="4798219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Tx/>
              <a:buNone/>
              <a:defRPr sz="1697">
                <a:solidFill>
                  <a:schemeClr val="bg1"/>
                </a:solidFill>
              </a:defRPr>
            </a:lvl1pPr>
            <a:lvl2pPr marL="675507" indent="-37105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600" b="0" i="0" u="none" strike="noStrike" cap="none" spc="0" baseline="0" dirty="0" smtClean="0">
                <a:solidFill>
                  <a:schemeClr val="bg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29120" indent="-332997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:asvg="http://schemas.microsoft.com/office/drawing/2016/SVG/main" xmlns="" r:embed="rId4"/>
                    </a:ext>
                  </a:extLst>
                </a:blip>
              </a:buBlip>
              <a:tabLst/>
              <a:defRPr sz="1400">
                <a:solidFill>
                  <a:schemeClr val="bg1"/>
                </a:solidFill>
              </a:defRPr>
            </a:lvl3pPr>
            <a:lvl4pPr marL="1340709" indent="-332204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:asvg="http://schemas.microsoft.com/office/drawing/2016/SVG/main" xmlns="" r:embed="rId4"/>
                    </a:ext>
                  </a:extLst>
                </a:blip>
              </a:buBlip>
              <a:tabLst/>
              <a:defRPr sz="1400">
                <a:solidFill>
                  <a:schemeClr val="bg1"/>
                </a:solidFill>
              </a:defRPr>
            </a:lvl4pPr>
            <a:lvl5pPr marL="1673706" indent="-363919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:asvg="http://schemas.microsoft.com/office/drawing/2016/SVG/main" xmlns="" r:embed="rId4"/>
                    </a:ext>
                  </a:extLst>
                </a:blip>
              </a:buBlip>
              <a:tabLst>
                <a:tab pos="1569843" algn="l"/>
              </a:tabLst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Párrafo sólo texto Arial 17</a:t>
            </a:r>
          </a:p>
          <a:p>
            <a:pPr lvl="1"/>
            <a:r>
              <a:rPr lang="es-ES" dirty="0" err="1"/>
              <a:t>Bullet</a:t>
            </a:r>
            <a:r>
              <a:rPr lang="es-ES" dirty="0"/>
              <a:t> Arial 16</a:t>
            </a:r>
          </a:p>
          <a:p>
            <a:pPr lvl="2"/>
            <a:r>
              <a:rPr lang="es-ES" dirty="0"/>
              <a:t>Sub </a:t>
            </a:r>
            <a:r>
              <a:rPr lang="es-ES" dirty="0" err="1"/>
              <a:t>Bullet</a:t>
            </a:r>
            <a:r>
              <a:rPr lang="es-ES" dirty="0"/>
              <a:t>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9" name="Marcador de número de diapositiva 1">
            <a:extLst>
              <a:ext uri="{FF2B5EF4-FFF2-40B4-BE49-F238E27FC236}">
                <a16:creationId xmlns:a16="http://schemas.microsoft.com/office/drawing/2014/main" xmlns="" id="{B6005794-B1A7-8346-8A09-45216AB23D5A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>
              <a:solidFill>
                <a:schemeClr val="bg1"/>
              </a:solidFill>
            </a:endParaRPr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xmlns="" id="{2803C210-104B-0645-823D-B2A1204D96A9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538541" y="450851"/>
            <a:ext cx="8338558" cy="41291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2396" b="1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3" name="Conector recto 12">
            <a:extLst>
              <a:ext uri="{FF2B5EF4-FFF2-40B4-BE49-F238E27FC236}">
                <a16:creationId xmlns:a16="http://schemas.microsoft.com/office/drawing/2014/main" xmlns="" id="{BA48638C-BCB3-3740-A045-C812921D4987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4" name="Marcador de texto 7">
            <a:extLst>
              <a:ext uri="{FF2B5EF4-FFF2-40B4-BE49-F238E27FC236}">
                <a16:creationId xmlns:a16="http://schemas.microsoft.com/office/drawing/2014/main" xmlns="" id="{91AB0884-4043-5742-99DC-1D09567E9F3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8541" y="878297"/>
            <a:ext cx="8338558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996" b="0">
                <a:solidFill>
                  <a:schemeClr val="accent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26164554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Gris-con titulo y texto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>
            <a:extLst>
              <a:ext uri="{FF2B5EF4-FFF2-40B4-BE49-F238E27FC236}">
                <a16:creationId xmlns:a16="http://schemas.microsoft.com/office/drawing/2014/main" xmlns="" id="{643F07F7-0867-CD45-9983-D25FA61D8DC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3" name="Marcador de texto 2">
            <a:extLst>
              <a:ext uri="{FF2B5EF4-FFF2-40B4-BE49-F238E27FC236}">
                <a16:creationId xmlns:a16="http://schemas.microsoft.com/office/drawing/2014/main" xmlns="" id="{CBD9B6F1-F225-3642-A507-6C25CF73371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3765" y="1620839"/>
            <a:ext cx="11292564" cy="4798219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Tx/>
              <a:buNone/>
              <a:defRPr sz="1697">
                <a:solidFill>
                  <a:schemeClr val="bg1"/>
                </a:solidFill>
              </a:defRPr>
            </a:lvl1pPr>
            <a:lvl2pPr marL="675507" indent="-37105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600" b="0" i="0" u="none" strike="noStrike" cap="none" spc="0" baseline="0" dirty="0" smtClean="0">
                <a:solidFill>
                  <a:schemeClr val="bg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29120" indent="-332997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:asvg="http://schemas.microsoft.com/office/drawing/2016/SVG/main" xmlns="" r:embed="rId4"/>
                    </a:ext>
                  </a:extLst>
                </a:blip>
              </a:buBlip>
              <a:tabLst/>
              <a:defRPr sz="1400">
                <a:solidFill>
                  <a:schemeClr val="bg1"/>
                </a:solidFill>
              </a:defRPr>
            </a:lvl3pPr>
            <a:lvl4pPr marL="1340709" indent="-332204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:asvg="http://schemas.microsoft.com/office/drawing/2016/SVG/main" xmlns="" r:embed="rId4"/>
                    </a:ext>
                  </a:extLst>
                </a:blip>
              </a:buBlip>
              <a:tabLst/>
              <a:defRPr sz="1400">
                <a:solidFill>
                  <a:schemeClr val="bg1"/>
                </a:solidFill>
              </a:defRPr>
            </a:lvl4pPr>
            <a:lvl5pPr marL="1673706" indent="-363919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:asvg="http://schemas.microsoft.com/office/drawing/2016/SVG/main" xmlns="" r:embed="rId4"/>
                    </a:ext>
                  </a:extLst>
                </a:blip>
              </a:buBlip>
              <a:tabLst>
                <a:tab pos="1569843" algn="l"/>
              </a:tabLst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Párrafo sólo texto Arial 17</a:t>
            </a:r>
          </a:p>
          <a:p>
            <a:pPr lvl="1"/>
            <a:r>
              <a:rPr lang="es-ES" dirty="0" err="1"/>
              <a:t>Bullet</a:t>
            </a:r>
            <a:r>
              <a:rPr lang="es-ES" dirty="0"/>
              <a:t> Arial 16</a:t>
            </a:r>
          </a:p>
          <a:p>
            <a:pPr lvl="2"/>
            <a:r>
              <a:rPr lang="es-ES" dirty="0"/>
              <a:t>Sub </a:t>
            </a:r>
            <a:r>
              <a:rPr lang="es-ES" dirty="0" err="1"/>
              <a:t>Bullet</a:t>
            </a:r>
            <a:r>
              <a:rPr lang="es-ES" dirty="0"/>
              <a:t>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9" name="Marcador de número de diapositiva 1">
            <a:extLst>
              <a:ext uri="{FF2B5EF4-FFF2-40B4-BE49-F238E27FC236}">
                <a16:creationId xmlns:a16="http://schemas.microsoft.com/office/drawing/2014/main" xmlns="" id="{B6005794-B1A7-8346-8A09-45216AB23D5A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>
              <a:solidFill>
                <a:schemeClr val="bg1"/>
              </a:solidFill>
            </a:endParaRPr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xmlns="" id="{2803C210-104B-0645-823D-B2A1204D96A9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538541" y="450851"/>
            <a:ext cx="8338558" cy="41291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2396" b="1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3" name="Conector recto 12">
            <a:extLst>
              <a:ext uri="{FF2B5EF4-FFF2-40B4-BE49-F238E27FC236}">
                <a16:creationId xmlns:a16="http://schemas.microsoft.com/office/drawing/2014/main" xmlns="" id="{BA48638C-BCB3-3740-A045-C812921D4987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4" name="Marcador de texto 7">
            <a:extLst>
              <a:ext uri="{FF2B5EF4-FFF2-40B4-BE49-F238E27FC236}">
                <a16:creationId xmlns:a16="http://schemas.microsoft.com/office/drawing/2014/main" xmlns="" id="{91AB0884-4043-5742-99DC-1D09567E9F3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8541" y="878297"/>
            <a:ext cx="8338558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996" b="0">
                <a:solidFill>
                  <a:schemeClr val="accent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4762788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ítulo y objetos">
    <p:bg>
      <p:bgPr>
        <a:solidFill>
          <a:srgbClr val="0C69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8515778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olo texto y bullet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3" name="Marcador de texto 2">
            <a:extLst>
              <a:ext uri="{FF2B5EF4-FFF2-40B4-BE49-F238E27FC236}">
                <a16:creationId xmlns:a16="http://schemas.microsoft.com/office/drawing/2014/main" xmlns="" id="{79371C62-644E-E74F-8E59-C3049417716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62049" y="2204864"/>
            <a:ext cx="5474279" cy="4145136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defRPr sz="1697">
                <a:solidFill>
                  <a:schemeClr val="bg1"/>
                </a:solidFill>
              </a:defRPr>
            </a:lvl1pPr>
            <a:lvl2pPr marL="675507" indent="-371055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Wingdings" pitchFamily="2" charset="2"/>
              <a:buChar char="§"/>
              <a:tabLst/>
              <a:defRPr lang="es-ES" sz="1600" b="0" i="0" u="none" strike="noStrike" cap="none" spc="0" baseline="0" dirty="0" smtClean="0">
                <a:solidFill>
                  <a:schemeClr val="bg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29120" indent="-332997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chemeClr val="bg1"/>
                </a:solidFill>
              </a:defRPr>
            </a:lvl3pPr>
            <a:lvl4pPr marL="1340709" indent="-332204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chemeClr val="bg1"/>
                </a:solidFill>
              </a:defRPr>
            </a:lvl4pPr>
            <a:lvl5pPr marL="1673706" indent="-363919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>
                <a:tab pos="1569843" algn="l"/>
              </a:tabLst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Párrafo texto Arial 17</a:t>
            </a:r>
          </a:p>
          <a:p>
            <a:pPr lvl="1"/>
            <a:r>
              <a:rPr lang="es-ES" dirty="0"/>
              <a:t>Segundo nivel Arial 16</a:t>
            </a:r>
          </a:p>
          <a:p>
            <a:pPr lvl="2"/>
            <a:r>
              <a:rPr lang="es-ES" dirty="0"/>
              <a:t>Tercer nivel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10" name="Marcador de texto 2">
            <a:extLst>
              <a:ext uri="{FF2B5EF4-FFF2-40B4-BE49-F238E27FC236}">
                <a16:creationId xmlns:a16="http://schemas.microsoft.com/office/drawing/2014/main" xmlns="" id="{46352864-5CDA-6748-9BE7-AB525715B10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7265" y="2204864"/>
            <a:ext cx="5474279" cy="4145136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defRPr sz="1697">
                <a:solidFill>
                  <a:schemeClr val="bg1"/>
                </a:solidFill>
              </a:defRPr>
            </a:lvl1pPr>
            <a:lvl2pPr marL="675507" indent="-371055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Wingdings" pitchFamily="2" charset="2"/>
              <a:buChar char="§"/>
              <a:tabLst/>
              <a:defRPr lang="es-ES" sz="1600" b="0" i="0" u="none" strike="noStrike" cap="none" spc="0" baseline="0" dirty="0" smtClean="0">
                <a:solidFill>
                  <a:schemeClr val="bg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29120" indent="-332997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chemeClr val="bg1"/>
                </a:solidFill>
              </a:defRPr>
            </a:lvl3pPr>
            <a:lvl4pPr marL="1340709" indent="-332204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chemeClr val="bg1"/>
                </a:solidFill>
              </a:defRPr>
            </a:lvl4pPr>
            <a:lvl5pPr marL="1673706" indent="-363919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>
                <a:tab pos="1569843" algn="l"/>
              </a:tabLst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Párrafo texto Arial 17</a:t>
            </a:r>
          </a:p>
          <a:p>
            <a:pPr lvl="1"/>
            <a:r>
              <a:rPr lang="es-ES" dirty="0"/>
              <a:t>Segundo nivel Arial 16</a:t>
            </a:r>
          </a:p>
          <a:p>
            <a:pPr lvl="2"/>
            <a:r>
              <a:rPr lang="es-ES" dirty="0"/>
              <a:t>Tercer nivel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11" name="Marcador de texto 7">
            <a:extLst>
              <a:ext uri="{FF2B5EF4-FFF2-40B4-BE49-F238E27FC236}">
                <a16:creationId xmlns:a16="http://schemas.microsoft.com/office/drawing/2014/main" xmlns="" id="{77E70C03-1C9A-9648-B425-8A31D2E87E4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59714" y="1608138"/>
            <a:ext cx="5460593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accent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xmlns="" id="{21A27CE4-2D15-A94A-A97D-35B2F8DDC91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62049" y="1608138"/>
            <a:ext cx="5460593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accent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421C23CA-A9EE-274A-A27A-3F1E699A6425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 flipH="1">
            <a:off x="427719" y="6587193"/>
            <a:ext cx="5492592" cy="174851"/>
          </a:xfrm>
          <a:noFill/>
          <a:effectLst/>
        </p:spPr>
        <p:txBody>
          <a:bodyPr wrap="square" lIns="0" tIns="0" rIns="0" bIns="36000">
            <a:spAutoFit/>
          </a:bodyPr>
          <a:lstStyle>
            <a:lvl1pPr marL="136370" indent="0">
              <a:tabLst/>
              <a:defRPr>
                <a:solidFill>
                  <a:schemeClr val="accent2"/>
                </a:solidFill>
              </a:defRPr>
            </a:lvl1pPr>
          </a:lstStyle>
          <a:p>
            <a:r>
              <a:rPr lang="es-ES_tradnl" dirty="0"/>
              <a:t>Fuente o Pie de página Arial 9</a:t>
            </a:r>
          </a:p>
        </p:txBody>
      </p:sp>
      <p:sp>
        <p:nvSpPr>
          <p:cNvPr id="13" name="Marcador de texto 7">
            <a:extLst>
              <a:ext uri="{FF2B5EF4-FFF2-40B4-BE49-F238E27FC236}">
                <a16:creationId xmlns:a16="http://schemas.microsoft.com/office/drawing/2014/main" xmlns="" id="{DD32D3F5-60C4-4548-B9FD-5B2B534B5D5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7" name="Conector recto 16">
            <a:extLst>
              <a:ext uri="{FF2B5EF4-FFF2-40B4-BE49-F238E27FC236}">
                <a16:creationId xmlns:a16="http://schemas.microsoft.com/office/drawing/2014/main" xmlns="" id="{FC4CE323-2991-0741-84BF-4FC66AF6EEA5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8" name="Marcador de texto 7">
            <a:extLst>
              <a:ext uri="{FF2B5EF4-FFF2-40B4-BE49-F238E27FC236}">
                <a16:creationId xmlns:a16="http://schemas.microsoft.com/office/drawing/2014/main" xmlns="" id="{A8F90AAC-3411-5E49-A60E-F9BE61D397F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accent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  <p:sp>
        <p:nvSpPr>
          <p:cNvPr id="14" name="Marcador de número de diapositiva 1">
            <a:extLst>
              <a:ext uri="{FF2B5EF4-FFF2-40B4-BE49-F238E27FC236}">
                <a16:creationId xmlns:a16="http://schemas.microsoft.com/office/drawing/2014/main" xmlns="" id="{CB5C4F44-F91F-5E4D-8C11-403F649E4C91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31698527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212" userDrawn="1">
          <p15:clr>
            <a:srgbClr val="FBAE40"/>
          </p15:clr>
        </p15:guide>
        <p15:guide id="2" pos="2926" userDrawn="1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olo texto y bullets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3" name="Marcador de texto 2">
            <a:extLst>
              <a:ext uri="{FF2B5EF4-FFF2-40B4-BE49-F238E27FC236}">
                <a16:creationId xmlns:a16="http://schemas.microsoft.com/office/drawing/2014/main" xmlns="" id="{79371C62-644E-E74F-8E59-C3049417716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62049" y="2204864"/>
            <a:ext cx="5474279" cy="4145136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defRPr sz="1697">
                <a:solidFill>
                  <a:srgbClr val="5F5F5F"/>
                </a:solidFill>
              </a:defRPr>
            </a:lvl1pPr>
            <a:lvl2pPr marL="675507" indent="-371055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600" b="0" i="0" u="none" strike="noStrike" cap="none" spc="0" baseline="0" dirty="0" smtClean="0">
                <a:solidFill>
                  <a:srgbClr val="5F5F5F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29120" indent="-332997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rgbClr val="5F5F5F"/>
                </a:solidFill>
              </a:defRPr>
            </a:lvl3pPr>
            <a:lvl4pPr marL="1340709" indent="-332204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rgbClr val="5F5F5F"/>
                </a:solidFill>
              </a:defRPr>
            </a:lvl4pPr>
            <a:lvl5pPr marL="1673706" indent="-363919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>
                <a:tab pos="1569843" algn="l"/>
              </a:tabLst>
              <a:defRPr sz="1400">
                <a:solidFill>
                  <a:srgbClr val="5F5F5F"/>
                </a:solidFill>
              </a:defRPr>
            </a:lvl5pPr>
          </a:lstStyle>
          <a:p>
            <a:pPr lvl="0"/>
            <a:r>
              <a:rPr lang="es-ES" dirty="0"/>
              <a:t>Párrafo texto Arial 17</a:t>
            </a:r>
          </a:p>
          <a:p>
            <a:pPr lvl="1"/>
            <a:r>
              <a:rPr lang="es-ES" dirty="0"/>
              <a:t>Segundo nivel Arial 16</a:t>
            </a:r>
          </a:p>
          <a:p>
            <a:pPr lvl="2"/>
            <a:r>
              <a:rPr lang="es-ES" dirty="0"/>
              <a:t>Tercer nivel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10" name="Marcador de texto 2">
            <a:extLst>
              <a:ext uri="{FF2B5EF4-FFF2-40B4-BE49-F238E27FC236}">
                <a16:creationId xmlns:a16="http://schemas.microsoft.com/office/drawing/2014/main" xmlns="" id="{46352864-5CDA-6748-9BE7-AB525715B10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46031" y="2204864"/>
            <a:ext cx="5474279" cy="4145136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defRPr sz="1697">
                <a:solidFill>
                  <a:srgbClr val="5F5F5F"/>
                </a:solidFill>
              </a:defRPr>
            </a:lvl1pPr>
            <a:lvl2pPr marL="675507" indent="-371055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600" b="0" i="0" u="none" strike="noStrike" cap="none" spc="0" baseline="0" dirty="0" smtClean="0">
                <a:solidFill>
                  <a:srgbClr val="5F5F5F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29120" indent="-332997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rgbClr val="5F5F5F"/>
                </a:solidFill>
              </a:defRPr>
            </a:lvl3pPr>
            <a:lvl4pPr marL="1340709" indent="-332204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rgbClr val="5F5F5F"/>
                </a:solidFill>
              </a:defRPr>
            </a:lvl4pPr>
            <a:lvl5pPr marL="1673706" indent="-363919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>
                <a:tab pos="1569843" algn="l"/>
              </a:tabLst>
              <a:defRPr sz="1400">
                <a:solidFill>
                  <a:srgbClr val="5F5F5F"/>
                </a:solidFill>
              </a:defRPr>
            </a:lvl5pPr>
          </a:lstStyle>
          <a:p>
            <a:pPr lvl="0"/>
            <a:r>
              <a:rPr lang="es-ES" dirty="0"/>
              <a:t>Párrafo texto Arial 17</a:t>
            </a:r>
          </a:p>
          <a:p>
            <a:pPr lvl="1"/>
            <a:r>
              <a:rPr lang="es-ES" dirty="0"/>
              <a:t>Segundo nivel Arial 16</a:t>
            </a:r>
          </a:p>
          <a:p>
            <a:pPr lvl="2"/>
            <a:r>
              <a:rPr lang="es-ES" dirty="0"/>
              <a:t>Tercer nivel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11" name="Marcador de texto 7">
            <a:extLst>
              <a:ext uri="{FF2B5EF4-FFF2-40B4-BE49-F238E27FC236}">
                <a16:creationId xmlns:a16="http://schemas.microsoft.com/office/drawing/2014/main" xmlns="" id="{77E70C03-1C9A-9648-B425-8A31D2E87E4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59714" y="1608138"/>
            <a:ext cx="5460593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xmlns="" id="{21A27CE4-2D15-A94A-A97D-35B2F8DDC91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62049" y="1608138"/>
            <a:ext cx="5460593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421C23CA-A9EE-274A-A27A-3F1E699A6425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 flipH="1">
            <a:off x="427719" y="6587193"/>
            <a:ext cx="5492592" cy="174851"/>
          </a:xfrm>
          <a:noFill/>
          <a:effectLst/>
        </p:spPr>
        <p:txBody>
          <a:bodyPr wrap="square" lIns="0" tIns="0" rIns="0" bIns="36000">
            <a:spAutoFit/>
          </a:bodyPr>
          <a:lstStyle>
            <a:lvl1pPr marL="136370" indent="0">
              <a:tabLst/>
              <a:defRPr/>
            </a:lvl1pPr>
          </a:lstStyle>
          <a:p>
            <a:r>
              <a:rPr lang="es-ES_tradnl" dirty="0"/>
              <a:t>Fuente o Pie de página Arial 9</a:t>
            </a:r>
          </a:p>
        </p:txBody>
      </p:sp>
      <p:sp>
        <p:nvSpPr>
          <p:cNvPr id="13" name="Marcador de texto 7">
            <a:extLst>
              <a:ext uri="{FF2B5EF4-FFF2-40B4-BE49-F238E27FC236}">
                <a16:creationId xmlns:a16="http://schemas.microsoft.com/office/drawing/2014/main" xmlns="" id="{DD32D3F5-60C4-4548-B9FD-5B2B534B5D5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7" name="Conector recto 16">
            <a:extLst>
              <a:ext uri="{FF2B5EF4-FFF2-40B4-BE49-F238E27FC236}">
                <a16:creationId xmlns:a16="http://schemas.microsoft.com/office/drawing/2014/main" xmlns="" id="{FC4CE323-2991-0741-84BF-4FC66AF6EEA5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8" name="Marcador de texto 7">
            <a:extLst>
              <a:ext uri="{FF2B5EF4-FFF2-40B4-BE49-F238E27FC236}">
                <a16:creationId xmlns:a16="http://schemas.microsoft.com/office/drawing/2014/main" xmlns="" id="{A8F90AAC-3411-5E49-A60E-F9BE61D397F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  <p:sp>
        <p:nvSpPr>
          <p:cNvPr id="14" name="Marcador de número de diapositiva 1">
            <a:extLst>
              <a:ext uri="{FF2B5EF4-FFF2-40B4-BE49-F238E27FC236}">
                <a16:creationId xmlns:a16="http://schemas.microsoft.com/office/drawing/2014/main" xmlns="" id="{0217BBB0-F8CF-654F-8533-C0D0CE94A1DF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tx2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79550379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212" userDrawn="1">
          <p15:clr>
            <a:srgbClr val="FBAE40"/>
          </p15:clr>
        </p15:guide>
        <p15:guide id="2" pos="2926" userDrawn="1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Solo texto y bullet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3" name="Marcador de texto 2">
            <a:extLst>
              <a:ext uri="{FF2B5EF4-FFF2-40B4-BE49-F238E27FC236}">
                <a16:creationId xmlns:a16="http://schemas.microsoft.com/office/drawing/2014/main" xmlns="" id="{79371C62-644E-E74F-8E59-C3049417716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62049" y="2204864"/>
            <a:ext cx="5474279" cy="4145136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defRPr sz="1697">
                <a:solidFill>
                  <a:schemeClr val="bg1"/>
                </a:solidFill>
              </a:defRPr>
            </a:lvl1pPr>
            <a:lvl2pPr marL="675507" indent="-371055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Wingdings" pitchFamily="2" charset="2"/>
              <a:buChar char="§"/>
              <a:tabLst/>
              <a:defRPr lang="es-ES" sz="1600" b="0" i="0" u="none" strike="noStrike" cap="none" spc="0" baseline="0" dirty="0" smtClean="0">
                <a:solidFill>
                  <a:schemeClr val="bg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29120" indent="-332997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chemeClr val="bg1"/>
                </a:solidFill>
              </a:defRPr>
            </a:lvl3pPr>
            <a:lvl4pPr marL="1340709" indent="-332204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chemeClr val="bg1"/>
                </a:solidFill>
              </a:defRPr>
            </a:lvl4pPr>
            <a:lvl5pPr marL="1673706" indent="-363919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>
                <a:tab pos="1569843" algn="l"/>
              </a:tabLst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Párrafo texto Arial 17</a:t>
            </a:r>
          </a:p>
          <a:p>
            <a:pPr lvl="1"/>
            <a:r>
              <a:rPr lang="es-ES" dirty="0"/>
              <a:t>Segundo nivel Arial 16</a:t>
            </a:r>
          </a:p>
          <a:p>
            <a:pPr lvl="2"/>
            <a:r>
              <a:rPr lang="es-ES" dirty="0"/>
              <a:t>Tercer nivel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10" name="Marcador de texto 2">
            <a:extLst>
              <a:ext uri="{FF2B5EF4-FFF2-40B4-BE49-F238E27FC236}">
                <a16:creationId xmlns:a16="http://schemas.microsoft.com/office/drawing/2014/main" xmlns="" id="{46352864-5CDA-6748-9BE7-AB525715B10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7265" y="2204864"/>
            <a:ext cx="5474279" cy="4145136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defRPr sz="1697">
                <a:solidFill>
                  <a:schemeClr val="bg1"/>
                </a:solidFill>
              </a:defRPr>
            </a:lvl1pPr>
            <a:lvl2pPr marL="675507" indent="-371055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Wingdings" pitchFamily="2" charset="2"/>
              <a:buChar char="§"/>
              <a:tabLst/>
              <a:defRPr lang="es-ES" sz="1600" b="0" i="0" u="none" strike="noStrike" cap="none" spc="0" baseline="0" dirty="0" smtClean="0">
                <a:solidFill>
                  <a:schemeClr val="bg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29120" indent="-332997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chemeClr val="bg1"/>
                </a:solidFill>
              </a:defRPr>
            </a:lvl3pPr>
            <a:lvl4pPr marL="1340709" indent="-332204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chemeClr val="bg1"/>
                </a:solidFill>
              </a:defRPr>
            </a:lvl4pPr>
            <a:lvl5pPr marL="1673706" indent="-363919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>
                <a:tab pos="1569843" algn="l"/>
              </a:tabLst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Párrafo texto Arial 17</a:t>
            </a:r>
          </a:p>
          <a:p>
            <a:pPr lvl="1"/>
            <a:r>
              <a:rPr lang="es-ES" dirty="0"/>
              <a:t>Segundo nivel Arial 16</a:t>
            </a:r>
          </a:p>
          <a:p>
            <a:pPr lvl="2"/>
            <a:r>
              <a:rPr lang="es-ES" dirty="0"/>
              <a:t>Tercer nivel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11" name="Marcador de texto 7">
            <a:extLst>
              <a:ext uri="{FF2B5EF4-FFF2-40B4-BE49-F238E27FC236}">
                <a16:creationId xmlns:a16="http://schemas.microsoft.com/office/drawing/2014/main" xmlns="" id="{77E70C03-1C9A-9648-B425-8A31D2E87E4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59714" y="1608138"/>
            <a:ext cx="5460593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accent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xmlns="" id="{21A27CE4-2D15-A94A-A97D-35B2F8DDC91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62049" y="1608138"/>
            <a:ext cx="5460593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accent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421C23CA-A9EE-274A-A27A-3F1E699A6425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 flipH="1">
            <a:off x="427719" y="6587193"/>
            <a:ext cx="5492592" cy="174851"/>
          </a:xfrm>
          <a:noFill/>
          <a:effectLst/>
        </p:spPr>
        <p:txBody>
          <a:bodyPr wrap="square" lIns="0" tIns="0" rIns="0" bIns="36000">
            <a:spAutoFit/>
          </a:bodyPr>
          <a:lstStyle>
            <a:lvl1pPr marL="136370" indent="0">
              <a:tabLst/>
              <a:defRPr>
                <a:solidFill>
                  <a:schemeClr val="accent2"/>
                </a:solidFill>
              </a:defRPr>
            </a:lvl1pPr>
          </a:lstStyle>
          <a:p>
            <a:r>
              <a:rPr lang="es-ES_tradnl" dirty="0"/>
              <a:t>Fuente o Pie de página Arial 9</a:t>
            </a:r>
          </a:p>
        </p:txBody>
      </p:sp>
      <p:sp>
        <p:nvSpPr>
          <p:cNvPr id="13" name="Marcador de texto 7">
            <a:extLst>
              <a:ext uri="{FF2B5EF4-FFF2-40B4-BE49-F238E27FC236}">
                <a16:creationId xmlns:a16="http://schemas.microsoft.com/office/drawing/2014/main" xmlns="" id="{DD32D3F5-60C4-4548-B9FD-5B2B534B5D5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7" name="Conector recto 16">
            <a:extLst>
              <a:ext uri="{FF2B5EF4-FFF2-40B4-BE49-F238E27FC236}">
                <a16:creationId xmlns:a16="http://schemas.microsoft.com/office/drawing/2014/main" xmlns="" id="{FC4CE323-2991-0741-84BF-4FC66AF6EEA5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8" name="Marcador de texto 7">
            <a:extLst>
              <a:ext uri="{FF2B5EF4-FFF2-40B4-BE49-F238E27FC236}">
                <a16:creationId xmlns:a16="http://schemas.microsoft.com/office/drawing/2014/main" xmlns="" id="{A8F90AAC-3411-5E49-A60E-F9BE61D397F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accent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  <p:sp>
        <p:nvSpPr>
          <p:cNvPr id="14" name="Marcador de número de diapositiva 1">
            <a:extLst>
              <a:ext uri="{FF2B5EF4-FFF2-40B4-BE49-F238E27FC236}">
                <a16:creationId xmlns:a16="http://schemas.microsoft.com/office/drawing/2014/main" xmlns="" id="{1F8842AD-E05A-0F45-8A8A-37431DBD738A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88256036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212" userDrawn="1">
          <p15:clr>
            <a:srgbClr val="FBAE40"/>
          </p15:clr>
        </p15:guide>
        <p15:guide id="2" pos="2926" userDrawn="1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Solo texto y bullets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3" name="Marcador de texto 2">
            <a:extLst>
              <a:ext uri="{FF2B5EF4-FFF2-40B4-BE49-F238E27FC236}">
                <a16:creationId xmlns:a16="http://schemas.microsoft.com/office/drawing/2014/main" xmlns="" id="{79371C62-644E-E74F-8E59-C3049417716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62049" y="2204864"/>
            <a:ext cx="5474279" cy="4145136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defRPr sz="1697">
                <a:solidFill>
                  <a:schemeClr val="bg1"/>
                </a:solidFill>
              </a:defRPr>
            </a:lvl1pPr>
            <a:lvl2pPr marL="675507" indent="-371055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Wingdings" pitchFamily="2" charset="2"/>
              <a:buChar char="§"/>
              <a:tabLst/>
              <a:defRPr lang="es-ES" sz="1600" b="0" i="0" u="none" strike="noStrike" cap="none" spc="0" baseline="0" dirty="0" smtClean="0">
                <a:solidFill>
                  <a:schemeClr val="bg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29120" indent="-332997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chemeClr val="bg1"/>
                </a:solidFill>
              </a:defRPr>
            </a:lvl3pPr>
            <a:lvl4pPr marL="1340709" indent="-332204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chemeClr val="bg1"/>
                </a:solidFill>
              </a:defRPr>
            </a:lvl4pPr>
            <a:lvl5pPr marL="1673706" indent="-363919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>
                <a:tab pos="1569843" algn="l"/>
              </a:tabLst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Párrafo texto Arial 17</a:t>
            </a:r>
          </a:p>
          <a:p>
            <a:pPr lvl="1"/>
            <a:r>
              <a:rPr lang="es-ES" dirty="0"/>
              <a:t>Segundo nivel Arial 16</a:t>
            </a:r>
          </a:p>
          <a:p>
            <a:pPr lvl="2"/>
            <a:r>
              <a:rPr lang="es-ES" dirty="0"/>
              <a:t>Tercer nivel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10" name="Marcador de texto 2">
            <a:extLst>
              <a:ext uri="{FF2B5EF4-FFF2-40B4-BE49-F238E27FC236}">
                <a16:creationId xmlns:a16="http://schemas.microsoft.com/office/drawing/2014/main" xmlns="" id="{46352864-5CDA-6748-9BE7-AB525715B10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7265" y="2204864"/>
            <a:ext cx="5474279" cy="4145136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defRPr sz="1697">
                <a:solidFill>
                  <a:schemeClr val="bg1"/>
                </a:solidFill>
              </a:defRPr>
            </a:lvl1pPr>
            <a:lvl2pPr marL="675507" indent="-371055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Wingdings" pitchFamily="2" charset="2"/>
              <a:buChar char="§"/>
              <a:tabLst/>
              <a:defRPr lang="es-ES" sz="1600" b="0" i="0" u="none" strike="noStrike" cap="none" spc="0" baseline="0" dirty="0" smtClean="0">
                <a:solidFill>
                  <a:schemeClr val="bg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29120" indent="-332997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chemeClr val="bg1"/>
                </a:solidFill>
              </a:defRPr>
            </a:lvl3pPr>
            <a:lvl4pPr marL="1340709" indent="-332204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chemeClr val="bg1"/>
                </a:solidFill>
              </a:defRPr>
            </a:lvl4pPr>
            <a:lvl5pPr marL="1673706" indent="-363919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>
                <a:tab pos="1569843" algn="l"/>
              </a:tabLst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Párrafo texto Arial 17</a:t>
            </a:r>
          </a:p>
          <a:p>
            <a:pPr lvl="1"/>
            <a:r>
              <a:rPr lang="es-ES" dirty="0"/>
              <a:t>Segundo nivel Arial 16</a:t>
            </a:r>
          </a:p>
          <a:p>
            <a:pPr lvl="2"/>
            <a:r>
              <a:rPr lang="es-ES" dirty="0"/>
              <a:t>Tercer nivel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11" name="Marcador de texto 7">
            <a:extLst>
              <a:ext uri="{FF2B5EF4-FFF2-40B4-BE49-F238E27FC236}">
                <a16:creationId xmlns:a16="http://schemas.microsoft.com/office/drawing/2014/main" xmlns="" id="{77E70C03-1C9A-9648-B425-8A31D2E87E4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59714" y="1608138"/>
            <a:ext cx="5460593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accent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xmlns="" id="{21A27CE4-2D15-A94A-A97D-35B2F8DDC91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62049" y="1608138"/>
            <a:ext cx="5460593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accent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421C23CA-A9EE-274A-A27A-3F1E699A6425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 flipH="1">
            <a:off x="427719" y="6587193"/>
            <a:ext cx="5492592" cy="174851"/>
          </a:xfrm>
          <a:noFill/>
          <a:effectLst/>
        </p:spPr>
        <p:txBody>
          <a:bodyPr wrap="square" lIns="0" tIns="0" rIns="0" bIns="36000">
            <a:spAutoFit/>
          </a:bodyPr>
          <a:lstStyle>
            <a:lvl1pPr marL="136370" indent="0">
              <a:tabLst/>
              <a:defRPr>
                <a:solidFill>
                  <a:schemeClr val="accent2"/>
                </a:solidFill>
              </a:defRPr>
            </a:lvl1pPr>
          </a:lstStyle>
          <a:p>
            <a:r>
              <a:rPr lang="es-ES_tradnl" dirty="0"/>
              <a:t>Fuente o Pie de página Arial 9</a:t>
            </a:r>
          </a:p>
        </p:txBody>
      </p:sp>
      <p:sp>
        <p:nvSpPr>
          <p:cNvPr id="13" name="Marcador de texto 7">
            <a:extLst>
              <a:ext uri="{FF2B5EF4-FFF2-40B4-BE49-F238E27FC236}">
                <a16:creationId xmlns:a16="http://schemas.microsoft.com/office/drawing/2014/main" xmlns="" id="{DD32D3F5-60C4-4548-B9FD-5B2B534B5D5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7" name="Conector recto 16">
            <a:extLst>
              <a:ext uri="{FF2B5EF4-FFF2-40B4-BE49-F238E27FC236}">
                <a16:creationId xmlns:a16="http://schemas.microsoft.com/office/drawing/2014/main" xmlns="" id="{FC4CE323-2991-0741-84BF-4FC66AF6EEA5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8" name="Marcador de texto 7">
            <a:extLst>
              <a:ext uri="{FF2B5EF4-FFF2-40B4-BE49-F238E27FC236}">
                <a16:creationId xmlns:a16="http://schemas.microsoft.com/office/drawing/2014/main" xmlns="" id="{A8F90AAC-3411-5E49-A60E-F9BE61D397F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accent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  <p:sp>
        <p:nvSpPr>
          <p:cNvPr id="14" name="Marcador de número de diapositiva 1">
            <a:extLst>
              <a:ext uri="{FF2B5EF4-FFF2-40B4-BE49-F238E27FC236}">
                <a16:creationId xmlns:a16="http://schemas.microsoft.com/office/drawing/2014/main" xmlns="" id="{1F8842AD-E05A-0F45-8A8A-37431DBD738A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58617421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212" userDrawn="1">
          <p15:clr>
            <a:srgbClr val="FBAE40"/>
          </p15:clr>
        </p15:guide>
        <p15:guide id="2" pos="2926" userDrawn="1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ulo, sub titulo y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7" name="Marcador de número de diapositiva 1">
            <a:extLst>
              <a:ext uri="{FF2B5EF4-FFF2-40B4-BE49-F238E27FC236}">
                <a16:creationId xmlns:a16="http://schemas.microsoft.com/office/drawing/2014/main" xmlns="" id="{A5BC562B-8075-3C4C-A449-F53BCE5866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000" dirty="0"/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xmlns="" id="{5333086C-D4D2-BC41-8D23-66AB3DB0C5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0" name="Conector recto 9">
            <a:extLst>
              <a:ext uri="{FF2B5EF4-FFF2-40B4-BE49-F238E27FC236}">
                <a16:creationId xmlns:a16="http://schemas.microsoft.com/office/drawing/2014/main" xmlns="" id="{1CEF97AF-E50E-F247-98FC-7FB6FC2DFFE2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1" name="Marcador de texto 7">
            <a:extLst>
              <a:ext uri="{FF2B5EF4-FFF2-40B4-BE49-F238E27FC236}">
                <a16:creationId xmlns:a16="http://schemas.microsoft.com/office/drawing/2014/main" xmlns="" id="{0F4EE69C-994D-B54F-88AE-FEC32892E1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7875062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46" userDrawn="1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ulo, sub titulo y logo fondo ver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7" name="Marcador de número de diapositiva 1">
            <a:extLst>
              <a:ext uri="{FF2B5EF4-FFF2-40B4-BE49-F238E27FC236}">
                <a16:creationId xmlns:a16="http://schemas.microsoft.com/office/drawing/2014/main" xmlns="" id="{025838F8-F232-B04E-AF29-81617EA89C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>
              <a:solidFill>
                <a:schemeClr val="bg1"/>
              </a:solidFill>
            </a:endParaRPr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xmlns="" id="{904E778F-A13F-5640-8DFB-735443F011C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0" name="Conector recto 9">
            <a:extLst>
              <a:ext uri="{FF2B5EF4-FFF2-40B4-BE49-F238E27FC236}">
                <a16:creationId xmlns:a16="http://schemas.microsoft.com/office/drawing/2014/main" xmlns="" id="{2159500B-EE7D-4543-ACA3-AE25BD6887CE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1" name="Marcador de texto 7">
            <a:extLst>
              <a:ext uri="{FF2B5EF4-FFF2-40B4-BE49-F238E27FC236}">
                <a16:creationId xmlns:a16="http://schemas.microsoft.com/office/drawing/2014/main" xmlns="" id="{DBEC4E9D-A2F1-4644-8BDF-6223E8BD35C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accent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7693332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46" userDrawn="1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ulo, sub titulo y logo fondo ver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7" name="Marcador de número de diapositiva 1">
            <a:extLst>
              <a:ext uri="{FF2B5EF4-FFF2-40B4-BE49-F238E27FC236}">
                <a16:creationId xmlns:a16="http://schemas.microsoft.com/office/drawing/2014/main" xmlns="" id="{025838F8-F232-B04E-AF29-81617EA89C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>
              <a:solidFill>
                <a:schemeClr val="bg1"/>
              </a:solidFill>
            </a:endParaRPr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xmlns="" id="{904E778F-A13F-5640-8DFB-735443F011C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0" name="Conector recto 9">
            <a:extLst>
              <a:ext uri="{FF2B5EF4-FFF2-40B4-BE49-F238E27FC236}">
                <a16:creationId xmlns:a16="http://schemas.microsoft.com/office/drawing/2014/main" xmlns="" id="{2159500B-EE7D-4543-ACA3-AE25BD6887CE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1" name="Marcador de texto 7">
            <a:extLst>
              <a:ext uri="{FF2B5EF4-FFF2-40B4-BE49-F238E27FC236}">
                <a16:creationId xmlns:a16="http://schemas.microsoft.com/office/drawing/2014/main" xmlns="" id="{DBEC4E9D-A2F1-4644-8BDF-6223E8BD35C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accent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xmlns="" id="{B3541E17-32DC-304A-AF37-ADA7A69CC78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6624" y="1175882"/>
            <a:ext cx="9526095" cy="56821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019910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46" userDrawn="1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comparativ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xmlns="" id="{F257A930-1B12-7B4A-B402-734BCB48BA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3" y="1596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67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xmlns="" id="{F257A930-1B12-7B4A-B402-734BCB48BA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3" y="1596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ángulo 6">
            <a:extLst>
              <a:ext uri="{FF2B5EF4-FFF2-40B4-BE49-F238E27FC236}">
                <a16:creationId xmlns:a16="http://schemas.microsoft.com/office/drawing/2014/main" xmlns="" id="{43C07928-B23C-C049-8D57-638AEAE25D0A}"/>
              </a:ext>
            </a:extLst>
          </p:cNvPr>
          <p:cNvSpPr/>
          <p:nvPr userDrawn="1"/>
        </p:nvSpPr>
        <p:spPr>
          <a:xfrm>
            <a:off x="9216452" y="3740420"/>
            <a:ext cx="2520328" cy="59428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747" tIns="50747" rIns="50747" bIns="50747" numCol="1" spcCol="38100" rtlCol="0" anchor="ctr">
            <a:spAutoFit/>
          </a:bodyPr>
          <a:lstStyle/>
          <a:p>
            <a:pPr marL="0" marR="0" indent="0" algn="ctr" defTabSz="824562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CL" sz="3196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20" name="Conector recto 74">
            <a:extLst>
              <a:ext uri="{FF2B5EF4-FFF2-40B4-BE49-F238E27FC236}">
                <a16:creationId xmlns:a16="http://schemas.microsoft.com/office/drawing/2014/main" xmlns="" id="{D53F8420-F737-A142-8C02-3370D732A139}"/>
              </a:ext>
            </a:extLst>
          </p:cNvPr>
          <p:cNvSpPr/>
          <p:nvPr userDrawn="1"/>
        </p:nvSpPr>
        <p:spPr>
          <a:xfrm flipH="1">
            <a:off x="2902381" y="2346859"/>
            <a:ext cx="1" cy="3400704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2836" rIns="22836"/>
          <a:lstStyle/>
          <a:p>
            <a:pPr defTabSz="1217024">
              <a:defRPr>
                <a:latin typeface="Arial"/>
                <a:ea typeface="Arial"/>
                <a:cs typeface="Arial"/>
                <a:sym typeface="Arial"/>
              </a:defRPr>
            </a:pPr>
            <a:endParaRPr sz="1200" dirty="0">
              <a:latin typeface="Arial"/>
              <a:cs typeface="Arial"/>
              <a:sym typeface="Arial"/>
            </a:endParaRPr>
          </a:p>
        </p:txBody>
      </p:sp>
      <p:sp>
        <p:nvSpPr>
          <p:cNvPr id="21" name="Conector recto 74">
            <a:extLst>
              <a:ext uri="{FF2B5EF4-FFF2-40B4-BE49-F238E27FC236}">
                <a16:creationId xmlns:a16="http://schemas.microsoft.com/office/drawing/2014/main" xmlns="" id="{D6D37DC4-4EA6-9544-8D43-FDA98A0A4224}"/>
              </a:ext>
            </a:extLst>
          </p:cNvPr>
          <p:cNvSpPr/>
          <p:nvPr userDrawn="1"/>
        </p:nvSpPr>
        <p:spPr>
          <a:xfrm flipH="1">
            <a:off x="5633095" y="2346859"/>
            <a:ext cx="1" cy="3400704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2836" rIns="22836"/>
          <a:lstStyle/>
          <a:p>
            <a:pPr defTabSz="1217024">
              <a:defRPr>
                <a:latin typeface="Arial"/>
                <a:ea typeface="Arial"/>
                <a:cs typeface="Arial"/>
                <a:sym typeface="Arial"/>
              </a:defRPr>
            </a:pPr>
            <a:endParaRPr sz="1200" dirty="0">
              <a:latin typeface="Arial"/>
              <a:cs typeface="Arial"/>
              <a:sym typeface="Arial"/>
            </a:endParaRPr>
          </a:p>
        </p:txBody>
      </p:sp>
      <p:sp>
        <p:nvSpPr>
          <p:cNvPr id="34" name="Marcador de texto 7">
            <a:extLst>
              <a:ext uri="{FF2B5EF4-FFF2-40B4-BE49-F238E27FC236}">
                <a16:creationId xmlns:a16="http://schemas.microsoft.com/office/drawing/2014/main" xmlns="" id="{7B419ADE-2D25-974C-863D-0EC0DFC0A5C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1284" y="3117333"/>
            <a:ext cx="1993255" cy="46800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</a:t>
            </a:r>
          </a:p>
          <a:p>
            <a:pPr lvl="0"/>
            <a:r>
              <a:rPr lang="es-ES" dirty="0"/>
              <a:t>Bold 16</a:t>
            </a:r>
            <a:endParaRPr lang="es-CL" dirty="0"/>
          </a:p>
        </p:txBody>
      </p:sp>
      <p:sp>
        <p:nvSpPr>
          <p:cNvPr id="36" name="Marcador de texto 7">
            <a:extLst>
              <a:ext uri="{FF2B5EF4-FFF2-40B4-BE49-F238E27FC236}">
                <a16:creationId xmlns:a16="http://schemas.microsoft.com/office/drawing/2014/main" xmlns="" id="{F98F0A76-E459-7040-92DF-0796E35D78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1284" y="3665997"/>
            <a:ext cx="1993255" cy="208156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40" name="Marcador de texto 7">
            <a:extLst>
              <a:ext uri="{FF2B5EF4-FFF2-40B4-BE49-F238E27FC236}">
                <a16:creationId xmlns:a16="http://schemas.microsoft.com/office/drawing/2014/main" xmlns="" id="{AA696213-3CE3-8141-BE88-BE027163D6E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83724" y="3117333"/>
            <a:ext cx="1993255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s-CL" sz="1600" b="1" dirty="0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s-ES" dirty="0"/>
              <a:t>Título Arial </a:t>
            </a:r>
          </a:p>
          <a:p>
            <a:pPr marL="0" lvl="0" indent="0">
              <a:spcBef>
                <a:spcPts val="0"/>
              </a:spcBef>
              <a:buNone/>
            </a:pPr>
            <a:r>
              <a:rPr lang="es-ES" dirty="0"/>
              <a:t>Bold 16</a:t>
            </a:r>
            <a:endParaRPr lang="es-CL" dirty="0"/>
          </a:p>
        </p:txBody>
      </p:sp>
      <p:sp>
        <p:nvSpPr>
          <p:cNvPr id="41" name="Marcador de texto 7">
            <a:extLst>
              <a:ext uri="{FF2B5EF4-FFF2-40B4-BE49-F238E27FC236}">
                <a16:creationId xmlns:a16="http://schemas.microsoft.com/office/drawing/2014/main" xmlns="" id="{0DFE9962-D69F-9F46-8D1F-D4F2B672D85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83724" y="3654541"/>
            <a:ext cx="1993255" cy="20930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45" name="Marcador de texto 7">
            <a:extLst>
              <a:ext uri="{FF2B5EF4-FFF2-40B4-BE49-F238E27FC236}">
                <a16:creationId xmlns:a16="http://schemas.microsoft.com/office/drawing/2014/main" xmlns="" id="{C95A676F-0AE0-C944-BE25-BD527CB9FE8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938405" y="3117333"/>
            <a:ext cx="1993255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s-CL" sz="1600" b="1" dirty="0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s-ES" dirty="0"/>
              <a:t>Título Arial </a:t>
            </a:r>
          </a:p>
          <a:p>
            <a:pPr marL="0" lvl="0" indent="0">
              <a:spcBef>
                <a:spcPts val="0"/>
              </a:spcBef>
              <a:buNone/>
            </a:pPr>
            <a:r>
              <a:rPr lang="es-ES" dirty="0"/>
              <a:t>Bold 16</a:t>
            </a:r>
            <a:endParaRPr lang="es-CL" dirty="0"/>
          </a:p>
        </p:txBody>
      </p:sp>
      <p:sp>
        <p:nvSpPr>
          <p:cNvPr id="46" name="Marcador de texto 7">
            <a:extLst>
              <a:ext uri="{FF2B5EF4-FFF2-40B4-BE49-F238E27FC236}">
                <a16:creationId xmlns:a16="http://schemas.microsoft.com/office/drawing/2014/main" xmlns="" id="{40F028AC-5B4A-9844-94D7-770F95E501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938405" y="3665997"/>
            <a:ext cx="1993255" cy="208156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50" name="Marcador de texto 7">
            <a:extLst>
              <a:ext uri="{FF2B5EF4-FFF2-40B4-BE49-F238E27FC236}">
                <a16:creationId xmlns:a16="http://schemas.microsoft.com/office/drawing/2014/main" xmlns="" id="{CBFD6792-9E13-7E48-9CEA-7FCD45D83A3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284631" y="2493112"/>
            <a:ext cx="2385540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51" name="Marcador de texto 7">
            <a:extLst>
              <a:ext uri="{FF2B5EF4-FFF2-40B4-BE49-F238E27FC236}">
                <a16:creationId xmlns:a16="http://schemas.microsoft.com/office/drawing/2014/main" xmlns="" id="{108DB484-1780-D345-A1D5-E256BC38977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284631" y="3020651"/>
            <a:ext cx="2385540" cy="2619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4" name="Marcador de posición de imagen 3">
            <a:extLst>
              <a:ext uri="{FF2B5EF4-FFF2-40B4-BE49-F238E27FC236}">
                <a16:creationId xmlns:a16="http://schemas.microsoft.com/office/drawing/2014/main" xmlns="" id="{DC8111CA-F1A2-044A-A61E-5D535C8840BE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3183720" y="2310725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30" name="Marcador de posición de imagen 3">
            <a:extLst>
              <a:ext uri="{FF2B5EF4-FFF2-40B4-BE49-F238E27FC236}">
                <a16:creationId xmlns:a16="http://schemas.microsoft.com/office/drawing/2014/main" xmlns="" id="{6F2BA060-6F09-A74D-BBF5-6F8F93A5EEF2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5938405" y="2310725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31" name="Marcador de posición de imagen 3">
            <a:extLst>
              <a:ext uri="{FF2B5EF4-FFF2-40B4-BE49-F238E27FC236}">
                <a16:creationId xmlns:a16="http://schemas.microsoft.com/office/drawing/2014/main" xmlns="" id="{F49B1752-2690-5047-BF37-65DC322FED38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454230" y="2310725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35" name="Marcador de texto 4">
            <a:extLst>
              <a:ext uri="{FF2B5EF4-FFF2-40B4-BE49-F238E27FC236}">
                <a16:creationId xmlns:a16="http://schemas.microsoft.com/office/drawing/2014/main" xmlns="" id="{535EAA60-8045-0240-8A28-73BA9C14F5A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457264" y="6474518"/>
            <a:ext cx="8377595" cy="384019"/>
          </a:xfrm>
          <a:prstGeom prst="rect">
            <a:avLst/>
          </a:prstGeom>
        </p:spPr>
        <p:txBody>
          <a:bodyPr/>
          <a:lstStyle>
            <a:lvl1pPr marL="228339" indent="-228339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900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Texto primera fuente Arial 9</a:t>
            </a:r>
          </a:p>
          <a:p>
            <a:pPr lvl="0"/>
            <a:r>
              <a:rPr lang="es-CL" dirty="0"/>
              <a:t>Texto sfuente Arial 9</a:t>
            </a:r>
          </a:p>
        </p:txBody>
      </p:sp>
      <p:sp>
        <p:nvSpPr>
          <p:cNvPr id="26" name="Línea">
            <a:extLst>
              <a:ext uri="{FF2B5EF4-FFF2-40B4-BE49-F238E27FC236}">
                <a16:creationId xmlns:a16="http://schemas.microsoft.com/office/drawing/2014/main" xmlns="" id="{2444CEDB-830B-134F-A2D4-D6873E299AB1}"/>
              </a:ext>
            </a:extLst>
          </p:cNvPr>
          <p:cNvSpPr/>
          <p:nvPr userDrawn="1"/>
        </p:nvSpPr>
        <p:spPr>
          <a:xfrm>
            <a:off x="8512614" y="2318311"/>
            <a:ext cx="280117" cy="342925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11" y="0"/>
                </a:moveTo>
                <a:lnTo>
                  <a:pt x="21600" y="10870"/>
                </a:lnTo>
                <a:lnTo>
                  <a:pt x="0" y="21600"/>
                </a:lnTo>
              </a:path>
            </a:pathLst>
          </a:custGeom>
          <a:ln w="114300">
            <a:solidFill>
              <a:schemeClr val="accent3">
                <a:lumMod val="40000"/>
                <a:lumOff val="60000"/>
              </a:schemeClr>
            </a:solidFill>
            <a:prstDash val="solid"/>
            <a:miter lim="400000"/>
          </a:ln>
        </p:spPr>
        <p:txBody>
          <a:bodyPr lIns="25372" tIns="25372" rIns="25372" bIns="25372" anchor="ctr"/>
          <a:lstStyle/>
          <a:p>
            <a:pPr defTabSz="1217024">
              <a:defRPr>
                <a:latin typeface="Arial"/>
                <a:ea typeface="Arial"/>
                <a:cs typeface="Arial"/>
                <a:sym typeface="Arial"/>
              </a:defRPr>
            </a:pPr>
            <a:endParaRPr sz="1200" dirty="0">
              <a:latin typeface="Arial"/>
              <a:cs typeface="Arial"/>
              <a:sym typeface="Arial"/>
            </a:endParaRPr>
          </a:p>
        </p:txBody>
      </p:sp>
      <p:sp>
        <p:nvSpPr>
          <p:cNvPr id="27" name="Marcador de número de diapositiva 1">
            <a:extLst>
              <a:ext uri="{FF2B5EF4-FFF2-40B4-BE49-F238E27FC236}">
                <a16:creationId xmlns:a16="http://schemas.microsoft.com/office/drawing/2014/main" xmlns="" id="{34BED3D6-BA71-8C4F-B456-2184D1F7C755}"/>
              </a:ext>
            </a:extLst>
          </p:cNvPr>
          <p:cNvSpPr>
            <a:spLocks noGrp="1"/>
          </p:cNvSpPr>
          <p:nvPr>
            <p:ph type="sldNum" sz="quarter" idx="52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000" dirty="0"/>
          </a:p>
        </p:txBody>
      </p:sp>
      <p:sp>
        <p:nvSpPr>
          <p:cNvPr id="24" name="Marcador de texto 7">
            <a:extLst>
              <a:ext uri="{FF2B5EF4-FFF2-40B4-BE49-F238E27FC236}">
                <a16:creationId xmlns:a16="http://schemas.microsoft.com/office/drawing/2014/main" xmlns="" id="{25E4DCC9-BFDD-214C-8A37-D2631A73A15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32" name="Conector recto 31">
            <a:extLst>
              <a:ext uri="{FF2B5EF4-FFF2-40B4-BE49-F238E27FC236}">
                <a16:creationId xmlns:a16="http://schemas.microsoft.com/office/drawing/2014/main" xmlns="" id="{27BEEAA3-8A69-6742-A85F-8DE31548C73D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3" name="Marcador de texto 7">
            <a:extLst>
              <a:ext uri="{FF2B5EF4-FFF2-40B4-BE49-F238E27FC236}">
                <a16:creationId xmlns:a16="http://schemas.microsoft.com/office/drawing/2014/main" xmlns="" id="{14500FF3-659D-5B46-B3EA-B3149442A41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01153051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752" userDrawn="1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ámina comparativa con foto/lámina comparativa foto/icon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21" name="Conector recto 74">
            <a:extLst>
              <a:ext uri="{FF2B5EF4-FFF2-40B4-BE49-F238E27FC236}">
                <a16:creationId xmlns:a16="http://schemas.microsoft.com/office/drawing/2014/main" xmlns="" id="{D6D37DC4-4EA6-9544-8D43-FDA98A0A4224}"/>
              </a:ext>
            </a:extLst>
          </p:cNvPr>
          <p:cNvSpPr/>
          <p:nvPr userDrawn="1"/>
        </p:nvSpPr>
        <p:spPr>
          <a:xfrm>
            <a:off x="5761618" y="1888949"/>
            <a:ext cx="0" cy="4358665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2836" rIns="22836"/>
          <a:lstStyle/>
          <a:p>
            <a:pPr defTabSz="1217024">
              <a:defRPr>
                <a:latin typeface="Arial"/>
                <a:ea typeface="Arial"/>
                <a:cs typeface="Arial"/>
                <a:sym typeface="Arial"/>
              </a:defRPr>
            </a:pPr>
            <a:endParaRPr sz="1200" dirty="0">
              <a:latin typeface="Arial"/>
              <a:cs typeface="Arial"/>
              <a:sym typeface="Arial"/>
            </a:endParaRPr>
          </a:p>
        </p:txBody>
      </p:sp>
      <p:sp>
        <p:nvSpPr>
          <p:cNvPr id="36" name="Marcador de texto 7">
            <a:extLst>
              <a:ext uri="{FF2B5EF4-FFF2-40B4-BE49-F238E27FC236}">
                <a16:creationId xmlns:a16="http://schemas.microsoft.com/office/drawing/2014/main" xmlns="" id="{F98F0A76-E459-7040-92DF-0796E35D78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8293" y="3984493"/>
            <a:ext cx="1993255" cy="22154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41" name="Marcador de texto 7">
            <a:extLst>
              <a:ext uri="{FF2B5EF4-FFF2-40B4-BE49-F238E27FC236}">
                <a16:creationId xmlns:a16="http://schemas.microsoft.com/office/drawing/2014/main" xmlns="" id="{0DFE9962-D69F-9F46-8D1F-D4F2B672D85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49130" y="3984493"/>
            <a:ext cx="1993255" cy="22154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46" name="Marcador de texto 7">
            <a:extLst>
              <a:ext uri="{FF2B5EF4-FFF2-40B4-BE49-F238E27FC236}">
                <a16:creationId xmlns:a16="http://schemas.microsoft.com/office/drawing/2014/main" xmlns="" id="{40F028AC-5B4A-9844-94D7-770F95E501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27704" y="3984500"/>
            <a:ext cx="1993255" cy="22154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53" name="Conector recto 74">
            <a:extLst>
              <a:ext uri="{FF2B5EF4-FFF2-40B4-BE49-F238E27FC236}">
                <a16:creationId xmlns:a16="http://schemas.microsoft.com/office/drawing/2014/main" xmlns="" id="{5BEE3994-12D6-1249-9576-D8A33A059B6C}"/>
              </a:ext>
            </a:extLst>
          </p:cNvPr>
          <p:cNvSpPr/>
          <p:nvPr userDrawn="1"/>
        </p:nvSpPr>
        <p:spPr>
          <a:xfrm>
            <a:off x="2975911" y="1888949"/>
            <a:ext cx="0" cy="4358665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2836" rIns="22836"/>
          <a:lstStyle/>
          <a:p>
            <a:pPr defTabSz="1217024">
              <a:defRPr>
                <a:latin typeface="Arial"/>
                <a:ea typeface="Arial"/>
                <a:cs typeface="Arial"/>
                <a:sym typeface="Arial"/>
              </a:defRPr>
            </a:pPr>
            <a:endParaRPr sz="1200" dirty="0">
              <a:latin typeface="Arial"/>
              <a:cs typeface="Arial"/>
              <a:sym typeface="Arial"/>
            </a:endParaRPr>
          </a:p>
        </p:txBody>
      </p:sp>
      <p:sp>
        <p:nvSpPr>
          <p:cNvPr id="54" name="Marcador de texto 7">
            <a:extLst>
              <a:ext uri="{FF2B5EF4-FFF2-40B4-BE49-F238E27FC236}">
                <a16:creationId xmlns:a16="http://schemas.microsoft.com/office/drawing/2014/main" xmlns="" id="{42F8710E-2DE8-074A-B6FC-EE460A7B8A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8293" y="3424296"/>
            <a:ext cx="1993255" cy="46800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</a:t>
            </a:r>
          </a:p>
          <a:p>
            <a:pPr lvl="0"/>
            <a:r>
              <a:rPr lang="es-ES" dirty="0"/>
              <a:t>Bold 16</a:t>
            </a:r>
            <a:endParaRPr lang="es-CL" dirty="0"/>
          </a:p>
        </p:txBody>
      </p:sp>
      <p:sp>
        <p:nvSpPr>
          <p:cNvPr id="55" name="Marcador de texto 7">
            <a:extLst>
              <a:ext uri="{FF2B5EF4-FFF2-40B4-BE49-F238E27FC236}">
                <a16:creationId xmlns:a16="http://schemas.microsoft.com/office/drawing/2014/main" xmlns="" id="{02CB12F5-EDD8-E346-9DE9-3A19237D421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49130" y="3424296"/>
            <a:ext cx="1993255" cy="46800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</a:t>
            </a:r>
          </a:p>
          <a:p>
            <a:pPr lvl="0"/>
            <a:r>
              <a:rPr lang="es-ES" dirty="0"/>
              <a:t>Bold 16</a:t>
            </a:r>
            <a:endParaRPr lang="es-CL" dirty="0"/>
          </a:p>
        </p:txBody>
      </p:sp>
      <p:sp>
        <p:nvSpPr>
          <p:cNvPr id="56" name="Marcador de texto 7">
            <a:extLst>
              <a:ext uri="{FF2B5EF4-FFF2-40B4-BE49-F238E27FC236}">
                <a16:creationId xmlns:a16="http://schemas.microsoft.com/office/drawing/2014/main" xmlns="" id="{5D9451A5-0C90-6A4B-9663-51CDE3D8B0E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27704" y="3424296"/>
            <a:ext cx="1993255" cy="46800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</a:t>
            </a:r>
          </a:p>
          <a:p>
            <a:pPr lvl="0"/>
            <a:r>
              <a:rPr lang="es-ES" dirty="0"/>
              <a:t>Bold 16</a:t>
            </a:r>
            <a:endParaRPr lang="es-CL" dirty="0"/>
          </a:p>
        </p:txBody>
      </p:sp>
      <p:sp>
        <p:nvSpPr>
          <p:cNvPr id="57" name="Marcador de posición de imagen 2">
            <a:extLst>
              <a:ext uri="{FF2B5EF4-FFF2-40B4-BE49-F238E27FC236}">
                <a16:creationId xmlns:a16="http://schemas.microsoft.com/office/drawing/2014/main" xmlns="" id="{D3DF0AC5-CFA7-6341-8507-840E9C986E3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58291" y="1889084"/>
            <a:ext cx="1619461" cy="121364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58" name="Marcador de posición de imagen 2">
            <a:extLst>
              <a:ext uri="{FF2B5EF4-FFF2-40B4-BE49-F238E27FC236}">
                <a16:creationId xmlns:a16="http://schemas.microsoft.com/office/drawing/2014/main" xmlns="" id="{17B499AE-C5B2-794D-8551-F1F602A885B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249130" y="1889084"/>
            <a:ext cx="1619461" cy="121364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59" name="Marcador de posición de imagen 2">
            <a:extLst>
              <a:ext uri="{FF2B5EF4-FFF2-40B4-BE49-F238E27FC236}">
                <a16:creationId xmlns:a16="http://schemas.microsoft.com/office/drawing/2014/main" xmlns="" id="{DE550592-7ED0-A544-9D4F-0101680080E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027699" y="1889084"/>
            <a:ext cx="1619461" cy="121364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28" name="Rectángulo 27">
            <a:extLst>
              <a:ext uri="{FF2B5EF4-FFF2-40B4-BE49-F238E27FC236}">
                <a16:creationId xmlns:a16="http://schemas.microsoft.com/office/drawing/2014/main" xmlns="" id="{2C43F09E-A773-E547-95D6-CF8477D8072A}"/>
              </a:ext>
            </a:extLst>
          </p:cNvPr>
          <p:cNvSpPr>
            <a:spLocks/>
          </p:cNvSpPr>
          <p:nvPr userDrawn="1"/>
        </p:nvSpPr>
        <p:spPr>
          <a:xfrm>
            <a:off x="9183171" y="3744639"/>
            <a:ext cx="2556333" cy="59428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747" tIns="50747" rIns="50747" bIns="50747" numCol="1" spcCol="38100" rtlCol="0" anchor="ctr">
            <a:spAutoFit/>
          </a:bodyPr>
          <a:lstStyle/>
          <a:p>
            <a:pPr marL="0" marR="0" indent="0" algn="ctr" defTabSz="824562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CL" sz="3196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0" name="Marcador de texto 7">
            <a:extLst>
              <a:ext uri="{FF2B5EF4-FFF2-40B4-BE49-F238E27FC236}">
                <a16:creationId xmlns:a16="http://schemas.microsoft.com/office/drawing/2014/main" xmlns="" id="{ADDB372D-3C0A-9843-8A24-4C447B4FFFC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274360" y="2033486"/>
            <a:ext cx="2383013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31" name="Marcador de texto 7">
            <a:extLst>
              <a:ext uri="{FF2B5EF4-FFF2-40B4-BE49-F238E27FC236}">
                <a16:creationId xmlns:a16="http://schemas.microsoft.com/office/drawing/2014/main" xmlns="" id="{4F4164F6-0B99-AC40-82D2-06A1C9776C2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274360" y="2623930"/>
            <a:ext cx="2383013" cy="344556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32" name="Marcador de texto 4">
            <a:extLst>
              <a:ext uri="{FF2B5EF4-FFF2-40B4-BE49-F238E27FC236}">
                <a16:creationId xmlns:a16="http://schemas.microsoft.com/office/drawing/2014/main" xmlns="" id="{63743F2B-A5AE-3F4C-B767-B2E9EB7AA468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448950" y="6467632"/>
            <a:ext cx="8377595" cy="371826"/>
          </a:xfrm>
          <a:prstGeom prst="rect">
            <a:avLst/>
          </a:prstGeom>
        </p:spPr>
        <p:txBody>
          <a:bodyPr anchor="t"/>
          <a:lstStyle>
            <a:lvl1pPr marL="228339" marR="0" indent="-228339" algn="l" defTabSz="121702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900">
                <a:solidFill>
                  <a:schemeClr val="tx2"/>
                </a:solidFill>
              </a:defRPr>
            </a:lvl1pPr>
          </a:lstStyle>
          <a:p>
            <a:pPr marL="228339" marR="0" lvl="0" indent="-228339" algn="l" defTabSz="1217024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/>
            </a:pPr>
            <a:r>
              <a:rPr lang="es-ES" dirty="0"/>
              <a:t>Texto primera fuente Arial 9</a:t>
            </a:r>
          </a:p>
          <a:p>
            <a:pPr lvl="0"/>
            <a:r>
              <a:rPr lang="es-CL" dirty="0"/>
              <a:t>Texto secundario fuente Arial 9</a:t>
            </a:r>
          </a:p>
        </p:txBody>
      </p:sp>
      <p:sp>
        <p:nvSpPr>
          <p:cNvPr id="24" name="Línea">
            <a:extLst>
              <a:ext uri="{FF2B5EF4-FFF2-40B4-BE49-F238E27FC236}">
                <a16:creationId xmlns:a16="http://schemas.microsoft.com/office/drawing/2014/main" xmlns="" id="{6381C55E-71FA-7248-BF78-2A722399DBD5}"/>
              </a:ext>
            </a:extLst>
          </p:cNvPr>
          <p:cNvSpPr/>
          <p:nvPr userDrawn="1"/>
        </p:nvSpPr>
        <p:spPr>
          <a:xfrm>
            <a:off x="8512614" y="1899777"/>
            <a:ext cx="280117" cy="430016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11" y="0"/>
                </a:moveTo>
                <a:lnTo>
                  <a:pt x="21600" y="10870"/>
                </a:lnTo>
                <a:lnTo>
                  <a:pt x="0" y="21600"/>
                </a:lnTo>
              </a:path>
            </a:pathLst>
          </a:custGeom>
          <a:ln w="114300">
            <a:solidFill>
              <a:schemeClr val="accent3">
                <a:lumMod val="40000"/>
                <a:lumOff val="60000"/>
              </a:schemeClr>
            </a:solidFill>
            <a:prstDash val="solid"/>
            <a:miter lim="400000"/>
          </a:ln>
        </p:spPr>
        <p:txBody>
          <a:bodyPr lIns="25372" tIns="25372" rIns="25372" bIns="25372" anchor="ctr"/>
          <a:lstStyle/>
          <a:p>
            <a:pPr defTabSz="1217024">
              <a:defRPr>
                <a:latin typeface="Arial"/>
                <a:ea typeface="Arial"/>
                <a:cs typeface="Arial"/>
                <a:sym typeface="Arial"/>
              </a:defRPr>
            </a:pPr>
            <a:endParaRPr sz="1200" dirty="0">
              <a:latin typeface="Arial"/>
              <a:cs typeface="Arial"/>
              <a:sym typeface="Arial"/>
            </a:endParaRPr>
          </a:p>
        </p:txBody>
      </p:sp>
      <p:sp>
        <p:nvSpPr>
          <p:cNvPr id="25" name="Marcador de número de diapositiva 1">
            <a:extLst>
              <a:ext uri="{FF2B5EF4-FFF2-40B4-BE49-F238E27FC236}">
                <a16:creationId xmlns:a16="http://schemas.microsoft.com/office/drawing/2014/main" xmlns="" id="{5BAD7F1D-419D-FF40-B4CE-455DD130ED72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000" dirty="0"/>
          </a:p>
        </p:txBody>
      </p:sp>
      <p:sp>
        <p:nvSpPr>
          <p:cNvPr id="23" name="Marcador de texto 7">
            <a:extLst>
              <a:ext uri="{FF2B5EF4-FFF2-40B4-BE49-F238E27FC236}">
                <a16:creationId xmlns:a16="http://schemas.microsoft.com/office/drawing/2014/main" xmlns="" id="{0F454693-6D1A-2246-86B9-7924B68505F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26" name="Conector recto 25">
            <a:extLst>
              <a:ext uri="{FF2B5EF4-FFF2-40B4-BE49-F238E27FC236}">
                <a16:creationId xmlns:a16="http://schemas.microsoft.com/office/drawing/2014/main" xmlns="" id="{6FE459EB-A05F-0346-B414-0F58EBD5D5EF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7" name="Marcador de texto 7">
            <a:extLst>
              <a:ext uri="{FF2B5EF4-FFF2-40B4-BE49-F238E27FC236}">
                <a16:creationId xmlns:a16="http://schemas.microsoft.com/office/drawing/2014/main" xmlns="" id="{F8957E07-7EBE-8B42-986C-CCD0C8363C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96545779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976" userDrawn="1">
          <p15:clr>
            <a:srgbClr val="FBAE40"/>
          </p15:clr>
        </p15:guide>
        <p15:guide id="2" pos="213" userDrawn="1">
          <p15:clr>
            <a:srgbClr val="FBAE40"/>
          </p15:clr>
        </p15:guide>
        <p15:guide id="3" orient="horz" pos="903" userDrawn="1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comparativ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xmlns="" id="{11EC41E5-806D-2E4E-AAA0-2EC2EC18FE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3" y="1596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91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xmlns="" id="{11EC41E5-806D-2E4E-AAA0-2EC2EC18FE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3" y="1596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>
            <a:extLst>
              <a:ext uri="{FF2B5EF4-FFF2-40B4-BE49-F238E27FC236}">
                <a16:creationId xmlns:a16="http://schemas.microsoft.com/office/drawing/2014/main" xmlns="" id="{2911EB5D-1BA9-2A4A-845D-FB2FAE605904}"/>
              </a:ext>
            </a:extLst>
          </p:cNvPr>
          <p:cNvSpPr/>
          <p:nvPr userDrawn="1"/>
        </p:nvSpPr>
        <p:spPr>
          <a:xfrm>
            <a:off x="9219176" y="3726359"/>
            <a:ext cx="2520328" cy="59428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747" tIns="50747" rIns="50747" bIns="50747" numCol="1" spcCol="38100" rtlCol="0" anchor="ctr">
            <a:spAutoFit/>
          </a:bodyPr>
          <a:lstStyle/>
          <a:p>
            <a:pPr marL="0" marR="0" indent="0" algn="ctr" defTabSz="824562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CL" sz="3196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36" name="Marcador de texto 7">
            <a:extLst>
              <a:ext uri="{FF2B5EF4-FFF2-40B4-BE49-F238E27FC236}">
                <a16:creationId xmlns:a16="http://schemas.microsoft.com/office/drawing/2014/main" xmlns="" id="{F98F0A76-E459-7040-92DF-0796E35D78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347853" y="2386495"/>
            <a:ext cx="5352814" cy="88255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53" name="Conector recto 74">
            <a:extLst>
              <a:ext uri="{FF2B5EF4-FFF2-40B4-BE49-F238E27FC236}">
                <a16:creationId xmlns:a16="http://schemas.microsoft.com/office/drawing/2014/main" xmlns="" id="{5BEE3994-12D6-1249-9576-D8A33A059B6C}"/>
              </a:ext>
            </a:extLst>
          </p:cNvPr>
          <p:cNvSpPr/>
          <p:nvPr userDrawn="1"/>
        </p:nvSpPr>
        <p:spPr>
          <a:xfrm>
            <a:off x="1933629" y="2379377"/>
            <a:ext cx="0" cy="888534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2836" rIns="22836"/>
          <a:lstStyle/>
          <a:p>
            <a:pPr defTabSz="1217024">
              <a:defRPr>
                <a:latin typeface="Arial"/>
                <a:ea typeface="Arial"/>
                <a:cs typeface="Arial"/>
                <a:sym typeface="Arial"/>
              </a:defRPr>
            </a:pPr>
            <a:endParaRPr sz="1200" dirty="0">
              <a:latin typeface="Arial"/>
              <a:cs typeface="Arial"/>
              <a:sym typeface="Arial"/>
            </a:endParaRPr>
          </a:p>
        </p:txBody>
      </p:sp>
      <p:sp>
        <p:nvSpPr>
          <p:cNvPr id="54" name="Marcador de texto 7">
            <a:extLst>
              <a:ext uri="{FF2B5EF4-FFF2-40B4-BE49-F238E27FC236}">
                <a16:creationId xmlns:a16="http://schemas.microsoft.com/office/drawing/2014/main" xmlns="" id="{42F8710E-2DE8-074A-B6FC-EE460A7B8A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9717" y="2587447"/>
            <a:ext cx="1268922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25" name="Marcador de texto 7">
            <a:extLst>
              <a:ext uri="{FF2B5EF4-FFF2-40B4-BE49-F238E27FC236}">
                <a16:creationId xmlns:a16="http://schemas.microsoft.com/office/drawing/2014/main" xmlns="" id="{50306EC6-0DBE-CA43-A0DD-EF256EA8F17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347853" y="3602233"/>
            <a:ext cx="5352814" cy="88255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26" name="Conector recto 74">
            <a:extLst>
              <a:ext uri="{FF2B5EF4-FFF2-40B4-BE49-F238E27FC236}">
                <a16:creationId xmlns:a16="http://schemas.microsoft.com/office/drawing/2014/main" xmlns="" id="{66BC8E95-AD01-7340-AEF4-FA9267A7B96C}"/>
              </a:ext>
            </a:extLst>
          </p:cNvPr>
          <p:cNvSpPr/>
          <p:nvPr userDrawn="1"/>
        </p:nvSpPr>
        <p:spPr>
          <a:xfrm>
            <a:off x="1933629" y="3595114"/>
            <a:ext cx="0" cy="888534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2836" rIns="22836"/>
          <a:lstStyle/>
          <a:p>
            <a:pPr defTabSz="1217024">
              <a:defRPr>
                <a:latin typeface="Arial"/>
                <a:ea typeface="Arial"/>
                <a:cs typeface="Arial"/>
                <a:sym typeface="Arial"/>
              </a:defRPr>
            </a:pPr>
            <a:endParaRPr sz="1200" dirty="0">
              <a:latin typeface="Arial"/>
              <a:cs typeface="Arial"/>
              <a:sym typeface="Arial"/>
            </a:endParaRPr>
          </a:p>
        </p:txBody>
      </p:sp>
      <p:sp>
        <p:nvSpPr>
          <p:cNvPr id="27" name="Marcador de texto 7">
            <a:extLst>
              <a:ext uri="{FF2B5EF4-FFF2-40B4-BE49-F238E27FC236}">
                <a16:creationId xmlns:a16="http://schemas.microsoft.com/office/drawing/2014/main" xmlns="" id="{D0EF8C13-D250-3B48-93E5-9C3D6F1E4C9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59717" y="3803184"/>
            <a:ext cx="1268922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28" name="Marcador de texto 7">
            <a:extLst>
              <a:ext uri="{FF2B5EF4-FFF2-40B4-BE49-F238E27FC236}">
                <a16:creationId xmlns:a16="http://schemas.microsoft.com/office/drawing/2014/main" xmlns="" id="{0B4D78F6-630E-0648-BAC8-17387BDBB3B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347853" y="4814980"/>
            <a:ext cx="5352814" cy="88255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29" name="Conector recto 74">
            <a:extLst>
              <a:ext uri="{FF2B5EF4-FFF2-40B4-BE49-F238E27FC236}">
                <a16:creationId xmlns:a16="http://schemas.microsoft.com/office/drawing/2014/main" xmlns="" id="{0F490E9C-14C0-9941-B731-8CF1EB77CFB0}"/>
              </a:ext>
            </a:extLst>
          </p:cNvPr>
          <p:cNvSpPr/>
          <p:nvPr userDrawn="1"/>
        </p:nvSpPr>
        <p:spPr>
          <a:xfrm>
            <a:off x="1933629" y="4807863"/>
            <a:ext cx="0" cy="888534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2836" rIns="22836"/>
          <a:lstStyle/>
          <a:p>
            <a:pPr defTabSz="1217024">
              <a:defRPr>
                <a:latin typeface="Arial"/>
                <a:ea typeface="Arial"/>
                <a:cs typeface="Arial"/>
                <a:sym typeface="Arial"/>
              </a:defRPr>
            </a:pPr>
            <a:endParaRPr sz="1200" dirty="0">
              <a:latin typeface="Arial"/>
              <a:cs typeface="Arial"/>
              <a:sym typeface="Arial"/>
            </a:endParaRPr>
          </a:p>
        </p:txBody>
      </p:sp>
      <p:sp>
        <p:nvSpPr>
          <p:cNvPr id="30" name="Marcador de texto 7">
            <a:extLst>
              <a:ext uri="{FF2B5EF4-FFF2-40B4-BE49-F238E27FC236}">
                <a16:creationId xmlns:a16="http://schemas.microsoft.com/office/drawing/2014/main" xmlns="" id="{EF047069-CE19-1842-BAD4-C26C6CDE055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9717" y="5015932"/>
            <a:ext cx="1268922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41" name="Marcador de texto 7">
            <a:extLst>
              <a:ext uri="{FF2B5EF4-FFF2-40B4-BE49-F238E27FC236}">
                <a16:creationId xmlns:a16="http://schemas.microsoft.com/office/drawing/2014/main" xmlns="" id="{02342014-A163-7C4D-8310-87B690C18D4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286236" y="2501440"/>
            <a:ext cx="2383013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42" name="Marcador de texto 7">
            <a:extLst>
              <a:ext uri="{FF2B5EF4-FFF2-40B4-BE49-F238E27FC236}">
                <a16:creationId xmlns:a16="http://schemas.microsoft.com/office/drawing/2014/main" xmlns="" id="{89A58E29-5BE1-E74F-82E9-E7C5220EE4D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286236" y="3011602"/>
            <a:ext cx="2383013" cy="256756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43" name="Marcador de texto 4">
            <a:extLst>
              <a:ext uri="{FF2B5EF4-FFF2-40B4-BE49-F238E27FC236}">
                <a16:creationId xmlns:a16="http://schemas.microsoft.com/office/drawing/2014/main" xmlns="" id="{7E4CF988-A96C-B747-AC71-EB9FDD4EAE76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457264" y="6475945"/>
            <a:ext cx="8377595" cy="371826"/>
          </a:xfrm>
          <a:prstGeom prst="rect">
            <a:avLst/>
          </a:prstGeom>
        </p:spPr>
        <p:txBody>
          <a:bodyPr/>
          <a:lstStyle>
            <a:lvl1pPr marL="228339" indent="-228339">
              <a:lnSpc>
                <a:spcPct val="100000"/>
              </a:lnSpc>
              <a:spcBef>
                <a:spcPts val="100"/>
              </a:spcBef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900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Texto primera fuente Arial 9</a:t>
            </a:r>
          </a:p>
          <a:p>
            <a:pPr lvl="0"/>
            <a:r>
              <a:rPr lang="es-CL" dirty="0"/>
              <a:t>Texto sfuente Arial 9</a:t>
            </a:r>
          </a:p>
        </p:txBody>
      </p:sp>
      <p:sp>
        <p:nvSpPr>
          <p:cNvPr id="23" name="Línea">
            <a:extLst>
              <a:ext uri="{FF2B5EF4-FFF2-40B4-BE49-F238E27FC236}">
                <a16:creationId xmlns:a16="http://schemas.microsoft.com/office/drawing/2014/main" xmlns="" id="{CF1F37D8-7FD7-DB46-90C0-999038641338}"/>
              </a:ext>
            </a:extLst>
          </p:cNvPr>
          <p:cNvSpPr/>
          <p:nvPr userDrawn="1"/>
        </p:nvSpPr>
        <p:spPr>
          <a:xfrm>
            <a:off x="8319866" y="2345408"/>
            <a:ext cx="280117" cy="33480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11" y="0"/>
                </a:moveTo>
                <a:lnTo>
                  <a:pt x="21600" y="10870"/>
                </a:lnTo>
                <a:lnTo>
                  <a:pt x="0" y="21600"/>
                </a:lnTo>
              </a:path>
            </a:pathLst>
          </a:custGeom>
          <a:ln w="114300">
            <a:solidFill>
              <a:schemeClr val="accent3">
                <a:lumMod val="40000"/>
                <a:lumOff val="60000"/>
              </a:schemeClr>
            </a:solidFill>
            <a:prstDash val="solid"/>
            <a:miter lim="400000"/>
          </a:ln>
        </p:spPr>
        <p:txBody>
          <a:bodyPr lIns="25372" tIns="25372" rIns="25372" bIns="25372" anchor="ctr"/>
          <a:lstStyle/>
          <a:p>
            <a:pPr defTabSz="1217024">
              <a:defRPr>
                <a:latin typeface="Arial"/>
                <a:ea typeface="Arial"/>
                <a:cs typeface="Arial"/>
                <a:sym typeface="Arial"/>
              </a:defRPr>
            </a:pPr>
            <a:endParaRPr sz="1200" dirty="0">
              <a:latin typeface="Arial"/>
              <a:cs typeface="Arial"/>
              <a:sym typeface="Arial"/>
            </a:endParaRPr>
          </a:p>
        </p:txBody>
      </p:sp>
      <p:sp>
        <p:nvSpPr>
          <p:cNvPr id="31" name="Marcador de número de diapositiva 1">
            <a:extLst>
              <a:ext uri="{FF2B5EF4-FFF2-40B4-BE49-F238E27FC236}">
                <a16:creationId xmlns:a16="http://schemas.microsoft.com/office/drawing/2014/main" xmlns="" id="{B5FADFF0-C5A7-6C44-B11D-F86CE0FE0063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000" dirty="0"/>
          </a:p>
        </p:txBody>
      </p:sp>
      <p:sp>
        <p:nvSpPr>
          <p:cNvPr id="22" name="Marcador de texto 7">
            <a:extLst>
              <a:ext uri="{FF2B5EF4-FFF2-40B4-BE49-F238E27FC236}">
                <a16:creationId xmlns:a16="http://schemas.microsoft.com/office/drawing/2014/main" xmlns="" id="{396EC5D0-EB4A-3A42-8898-1FDF29DB249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32" name="Conector recto 31">
            <a:extLst>
              <a:ext uri="{FF2B5EF4-FFF2-40B4-BE49-F238E27FC236}">
                <a16:creationId xmlns:a16="http://schemas.microsoft.com/office/drawing/2014/main" xmlns="" id="{26AB80EE-EB42-3B4D-A955-092EDBA364EB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3" name="Marcador de texto 7">
            <a:extLst>
              <a:ext uri="{FF2B5EF4-FFF2-40B4-BE49-F238E27FC236}">
                <a16:creationId xmlns:a16="http://schemas.microsoft.com/office/drawing/2014/main" xmlns="" id="{A238EFE4-5978-AF43-A7D8-8F70217F9A1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88348725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128" userDrawn="1">
          <p15:clr>
            <a:srgbClr val="FBAE40"/>
          </p15:clr>
        </p15:guide>
        <p15:guide id="2" pos="213" userDrawn="1">
          <p15:clr>
            <a:srgbClr val="FBAE40"/>
          </p15:clr>
        </p15:guide>
        <p15:guide id="3" orient="horz" pos="273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xmlns="" id="{C0B972A3-E7F3-0A4F-BEE6-2EE7AC84380C}"/>
              </a:ext>
            </a:extLst>
          </p:cNvPr>
          <p:cNvSpPr/>
          <p:nvPr userDrawn="1"/>
        </p:nvSpPr>
        <p:spPr>
          <a:xfrm>
            <a:off x="1" y="0"/>
            <a:ext cx="12193588" cy="6858000"/>
          </a:xfrm>
          <a:prstGeom prst="rect">
            <a:avLst/>
          </a:prstGeom>
          <a:solidFill>
            <a:srgbClr val="83B8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797" dirty="0"/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xmlns="" id="{18404275-C21C-B344-92AA-B363C5F8F24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cxnSp>
        <p:nvCxnSpPr>
          <p:cNvPr id="12" name="Conector recto 11">
            <a:extLst>
              <a:ext uri="{FF2B5EF4-FFF2-40B4-BE49-F238E27FC236}">
                <a16:creationId xmlns:a16="http://schemas.microsoft.com/office/drawing/2014/main" xmlns="" id="{2E94A797-3320-F543-B24F-6FE8F5A4A301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rgbClr val="0D693C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66684536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comparativa 2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xmlns="" id="{5531200A-67B4-814A-95C6-ABA059808C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3" y="1596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615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xmlns="" id="{5531200A-67B4-814A-95C6-ABA059808C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3" y="1596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ángulo 3">
            <a:extLst>
              <a:ext uri="{FF2B5EF4-FFF2-40B4-BE49-F238E27FC236}">
                <a16:creationId xmlns:a16="http://schemas.microsoft.com/office/drawing/2014/main" xmlns="" id="{27BAF180-D9D1-0C4D-852E-CDC458C6A5AD}"/>
              </a:ext>
            </a:extLst>
          </p:cNvPr>
          <p:cNvSpPr/>
          <p:nvPr userDrawn="1"/>
        </p:nvSpPr>
        <p:spPr>
          <a:xfrm>
            <a:off x="9216073" y="3672921"/>
            <a:ext cx="2520328" cy="59428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747" tIns="50747" rIns="50747" bIns="50747" numCol="1" spcCol="38100" rtlCol="0" anchor="ctr">
            <a:spAutoFit/>
          </a:bodyPr>
          <a:lstStyle/>
          <a:p>
            <a:pPr marL="0" marR="0" indent="0" algn="ctr" defTabSz="824562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CL" sz="3196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22" name="Línea">
            <a:extLst>
              <a:ext uri="{FF2B5EF4-FFF2-40B4-BE49-F238E27FC236}">
                <a16:creationId xmlns:a16="http://schemas.microsoft.com/office/drawing/2014/main" xmlns="" id="{92245F91-D7B9-BE4A-83D9-E37F606258CA}"/>
              </a:ext>
            </a:extLst>
          </p:cNvPr>
          <p:cNvSpPr/>
          <p:nvPr userDrawn="1"/>
        </p:nvSpPr>
        <p:spPr>
          <a:xfrm>
            <a:off x="8617048" y="2134630"/>
            <a:ext cx="280117" cy="36720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11" y="0"/>
                </a:moveTo>
                <a:lnTo>
                  <a:pt x="21600" y="10870"/>
                </a:lnTo>
                <a:lnTo>
                  <a:pt x="0" y="21600"/>
                </a:lnTo>
              </a:path>
            </a:pathLst>
          </a:custGeom>
          <a:ln w="114300">
            <a:solidFill>
              <a:schemeClr val="accent3">
                <a:lumMod val="40000"/>
                <a:lumOff val="60000"/>
              </a:schemeClr>
            </a:solidFill>
            <a:prstDash val="solid"/>
            <a:miter lim="400000"/>
          </a:ln>
        </p:spPr>
        <p:txBody>
          <a:bodyPr lIns="25372" tIns="25372" rIns="25372" bIns="25372" anchor="ctr"/>
          <a:lstStyle/>
          <a:p>
            <a:pPr defTabSz="1217024">
              <a:defRPr>
                <a:latin typeface="Arial"/>
                <a:ea typeface="Arial"/>
                <a:cs typeface="Arial"/>
                <a:sym typeface="Arial"/>
              </a:defRPr>
            </a:pPr>
            <a:endParaRPr sz="1200" dirty="0">
              <a:latin typeface="Arial"/>
              <a:cs typeface="Arial"/>
              <a:sym typeface="Arial"/>
            </a:endParaRPr>
          </a:p>
        </p:txBody>
      </p:sp>
      <p:sp>
        <p:nvSpPr>
          <p:cNvPr id="36" name="Marcador de texto 7">
            <a:extLst>
              <a:ext uri="{FF2B5EF4-FFF2-40B4-BE49-F238E27FC236}">
                <a16:creationId xmlns:a16="http://schemas.microsoft.com/office/drawing/2014/main" xmlns="" id="{F98F0A76-E459-7040-92DF-0796E35D78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05735" y="2134630"/>
            <a:ext cx="4033860" cy="108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54" name="Marcador de texto 7">
            <a:extLst>
              <a:ext uri="{FF2B5EF4-FFF2-40B4-BE49-F238E27FC236}">
                <a16:creationId xmlns:a16="http://schemas.microsoft.com/office/drawing/2014/main" xmlns="" id="{42F8710E-2DE8-074A-B6FC-EE460A7B8A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17590" y="2457416"/>
            <a:ext cx="1279594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34" name="Marcador de posición de imagen 2">
            <a:extLst>
              <a:ext uri="{FF2B5EF4-FFF2-40B4-BE49-F238E27FC236}">
                <a16:creationId xmlns:a16="http://schemas.microsoft.com/office/drawing/2014/main" xmlns="" id="{01391A15-7249-EE4F-A688-E4680B66FA1F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56967" y="2134630"/>
            <a:ext cx="1475539" cy="108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s-CL" dirty="0"/>
              <a:t>Doble click para incorporar una imagen</a:t>
            </a:r>
          </a:p>
        </p:txBody>
      </p:sp>
      <p:cxnSp>
        <p:nvCxnSpPr>
          <p:cNvPr id="35" name="Conector recto 34">
            <a:extLst>
              <a:ext uri="{FF2B5EF4-FFF2-40B4-BE49-F238E27FC236}">
                <a16:creationId xmlns:a16="http://schemas.microsoft.com/office/drawing/2014/main" xmlns="" id="{CBC1B177-B50F-5E40-B15D-0EC5384F83A6}"/>
              </a:ext>
            </a:extLst>
          </p:cNvPr>
          <p:cNvCxnSpPr>
            <a:cxnSpLocks/>
          </p:cNvCxnSpPr>
          <p:nvPr userDrawn="1"/>
        </p:nvCxnSpPr>
        <p:spPr>
          <a:xfrm>
            <a:off x="3691506" y="2134630"/>
            <a:ext cx="0" cy="108000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7" name="Marcador de texto 7">
            <a:extLst>
              <a:ext uri="{FF2B5EF4-FFF2-40B4-BE49-F238E27FC236}">
                <a16:creationId xmlns:a16="http://schemas.microsoft.com/office/drawing/2014/main" xmlns="" id="{5D64D211-8E0C-C94B-88E7-E1C991DD3E4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105735" y="3429039"/>
            <a:ext cx="4033860" cy="108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38" name="Marcador de texto 7">
            <a:extLst>
              <a:ext uri="{FF2B5EF4-FFF2-40B4-BE49-F238E27FC236}">
                <a16:creationId xmlns:a16="http://schemas.microsoft.com/office/drawing/2014/main" xmlns="" id="{17CE4B52-3BE3-2F44-84B5-ACEA2C0D722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217590" y="3704325"/>
            <a:ext cx="1279594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39" name="Marcador de posición de imagen 2">
            <a:extLst>
              <a:ext uri="{FF2B5EF4-FFF2-40B4-BE49-F238E27FC236}">
                <a16:creationId xmlns:a16="http://schemas.microsoft.com/office/drawing/2014/main" xmlns="" id="{0ECC6833-D921-F248-810B-5EEE0E76CE14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456967" y="3429039"/>
            <a:ext cx="1475539" cy="108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s-CL" dirty="0"/>
              <a:t>Doble click para incorporar una imagen</a:t>
            </a:r>
          </a:p>
        </p:txBody>
      </p:sp>
      <p:cxnSp>
        <p:nvCxnSpPr>
          <p:cNvPr id="40" name="Conector recto 39">
            <a:extLst>
              <a:ext uri="{FF2B5EF4-FFF2-40B4-BE49-F238E27FC236}">
                <a16:creationId xmlns:a16="http://schemas.microsoft.com/office/drawing/2014/main" xmlns="" id="{94711B5F-DD02-6648-B446-B9333D6370A5}"/>
              </a:ext>
            </a:extLst>
          </p:cNvPr>
          <p:cNvCxnSpPr>
            <a:cxnSpLocks/>
          </p:cNvCxnSpPr>
          <p:nvPr userDrawn="1"/>
        </p:nvCxnSpPr>
        <p:spPr>
          <a:xfrm>
            <a:off x="3691506" y="3429039"/>
            <a:ext cx="0" cy="108000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41" name="Marcador de texto 7">
            <a:extLst>
              <a:ext uri="{FF2B5EF4-FFF2-40B4-BE49-F238E27FC236}">
                <a16:creationId xmlns:a16="http://schemas.microsoft.com/office/drawing/2014/main" xmlns="" id="{4B4FD424-FA2D-1B46-A149-58EF233359F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105735" y="4722386"/>
            <a:ext cx="4033860" cy="108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42" name="Marcador de texto 7">
            <a:extLst>
              <a:ext uri="{FF2B5EF4-FFF2-40B4-BE49-F238E27FC236}">
                <a16:creationId xmlns:a16="http://schemas.microsoft.com/office/drawing/2014/main" xmlns="" id="{2A601485-B11B-7B46-9F04-9A94F7E41A4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217590" y="5045172"/>
            <a:ext cx="1279594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43" name="Marcador de posición de imagen 2">
            <a:extLst>
              <a:ext uri="{FF2B5EF4-FFF2-40B4-BE49-F238E27FC236}">
                <a16:creationId xmlns:a16="http://schemas.microsoft.com/office/drawing/2014/main" xmlns="" id="{AEA8A8BB-FA5E-874E-AAB9-F559CF5B08D6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456967" y="4722386"/>
            <a:ext cx="1475539" cy="108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s-CL" dirty="0"/>
              <a:t>Doble click para incorporar una imagen</a:t>
            </a:r>
          </a:p>
        </p:txBody>
      </p:sp>
      <p:cxnSp>
        <p:nvCxnSpPr>
          <p:cNvPr id="44" name="Conector recto 43">
            <a:extLst>
              <a:ext uri="{FF2B5EF4-FFF2-40B4-BE49-F238E27FC236}">
                <a16:creationId xmlns:a16="http://schemas.microsoft.com/office/drawing/2014/main" xmlns="" id="{E4F06A31-FE62-FA43-82D4-43BC324386A3}"/>
              </a:ext>
            </a:extLst>
          </p:cNvPr>
          <p:cNvCxnSpPr>
            <a:cxnSpLocks/>
          </p:cNvCxnSpPr>
          <p:nvPr userDrawn="1"/>
        </p:nvCxnSpPr>
        <p:spPr>
          <a:xfrm>
            <a:off x="3691506" y="4722386"/>
            <a:ext cx="0" cy="108000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45" name="Marcador de texto 7">
            <a:extLst>
              <a:ext uri="{FF2B5EF4-FFF2-40B4-BE49-F238E27FC236}">
                <a16:creationId xmlns:a16="http://schemas.microsoft.com/office/drawing/2014/main" xmlns="" id="{86474526-7DF2-164F-B33E-6141E63E9BE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299489" y="2205763"/>
            <a:ext cx="2383013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46" name="Marcador de texto 7">
            <a:extLst>
              <a:ext uri="{FF2B5EF4-FFF2-40B4-BE49-F238E27FC236}">
                <a16:creationId xmlns:a16="http://schemas.microsoft.com/office/drawing/2014/main" xmlns="" id="{D3D12324-E365-794E-9EF0-965E7CA66F2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299489" y="2733300"/>
            <a:ext cx="2383013" cy="296685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32" name="Marcador de texto 4">
            <a:extLst>
              <a:ext uri="{FF2B5EF4-FFF2-40B4-BE49-F238E27FC236}">
                <a16:creationId xmlns:a16="http://schemas.microsoft.com/office/drawing/2014/main" xmlns="" id="{3A8DF9D6-5EAA-1441-80FE-873F0F2A7A11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436621" y="6461125"/>
            <a:ext cx="8377595" cy="371826"/>
          </a:xfrm>
          <a:prstGeom prst="rect">
            <a:avLst/>
          </a:prstGeom>
        </p:spPr>
        <p:txBody>
          <a:bodyPr/>
          <a:lstStyle>
            <a:lvl1pPr marL="228339" indent="-228339">
              <a:lnSpc>
                <a:spcPct val="100000"/>
              </a:lnSpc>
              <a:spcBef>
                <a:spcPts val="100"/>
              </a:spcBef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900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Texto primera fuente Arial 9</a:t>
            </a:r>
          </a:p>
          <a:p>
            <a:pPr lvl="0"/>
            <a:r>
              <a:rPr lang="es-CL" dirty="0"/>
              <a:t>Texto sfuente Arial 9</a:t>
            </a:r>
          </a:p>
        </p:txBody>
      </p:sp>
      <p:sp>
        <p:nvSpPr>
          <p:cNvPr id="27" name="Marcador de número de diapositiva 1">
            <a:extLst>
              <a:ext uri="{FF2B5EF4-FFF2-40B4-BE49-F238E27FC236}">
                <a16:creationId xmlns:a16="http://schemas.microsoft.com/office/drawing/2014/main" xmlns="" id="{7F75FD05-741A-804D-B57C-7FACD50F96E5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000" dirty="0"/>
          </a:p>
        </p:txBody>
      </p:sp>
      <p:sp>
        <p:nvSpPr>
          <p:cNvPr id="25" name="Marcador de texto 7">
            <a:extLst>
              <a:ext uri="{FF2B5EF4-FFF2-40B4-BE49-F238E27FC236}">
                <a16:creationId xmlns:a16="http://schemas.microsoft.com/office/drawing/2014/main" xmlns="" id="{C5ED000E-D5A6-F144-A663-DE3BA9659C3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29" name="Conector recto 28">
            <a:extLst>
              <a:ext uri="{FF2B5EF4-FFF2-40B4-BE49-F238E27FC236}">
                <a16:creationId xmlns:a16="http://schemas.microsoft.com/office/drawing/2014/main" xmlns="" id="{C321E7CF-1D96-004A-B00A-89BB11E1F662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0" name="Marcador de texto 7">
            <a:extLst>
              <a:ext uri="{FF2B5EF4-FFF2-40B4-BE49-F238E27FC236}">
                <a16:creationId xmlns:a16="http://schemas.microsoft.com/office/drawing/2014/main" xmlns="" id="{65EEA7E1-D0E6-3F46-BEDD-59A005047D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79561948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24" userDrawn="1">
          <p15:clr>
            <a:srgbClr val="FBAE40"/>
          </p15:clr>
        </p15:guide>
        <p15:guide id="2" pos="213" userDrawn="1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comparativa 2 categorías y descripcio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xmlns="" id="{0B42D332-2844-E942-96BC-37A626E303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3" y="1596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39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xmlns="" id="{0B42D332-2844-E942-96BC-37A626E303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3" y="1596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ángulo 4">
            <a:extLst>
              <a:ext uri="{FF2B5EF4-FFF2-40B4-BE49-F238E27FC236}">
                <a16:creationId xmlns:a16="http://schemas.microsoft.com/office/drawing/2014/main" xmlns="" id="{52ED1F8C-1BD3-014F-996B-FFB80867B4C0}"/>
              </a:ext>
            </a:extLst>
          </p:cNvPr>
          <p:cNvSpPr/>
          <p:nvPr userDrawn="1"/>
        </p:nvSpPr>
        <p:spPr>
          <a:xfrm>
            <a:off x="9216073" y="3611601"/>
            <a:ext cx="2520328" cy="59428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747" tIns="50747" rIns="50747" bIns="50747" numCol="1" spcCol="38100" rtlCol="0" anchor="ctr">
            <a:spAutoFit/>
          </a:bodyPr>
          <a:lstStyle/>
          <a:p>
            <a:pPr marL="0" marR="0" indent="0" algn="ctr" defTabSz="824562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CL" sz="3196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cxnSp>
        <p:nvCxnSpPr>
          <p:cNvPr id="108" name="Conector recto 107">
            <a:extLst>
              <a:ext uri="{FF2B5EF4-FFF2-40B4-BE49-F238E27FC236}">
                <a16:creationId xmlns:a16="http://schemas.microsoft.com/office/drawing/2014/main" xmlns="" id="{41C22BEC-E3DB-B444-918C-AC167E7F1462}"/>
              </a:ext>
            </a:extLst>
          </p:cNvPr>
          <p:cNvCxnSpPr>
            <a:cxnSpLocks/>
          </p:cNvCxnSpPr>
          <p:nvPr userDrawn="1"/>
        </p:nvCxnSpPr>
        <p:spPr>
          <a:xfrm>
            <a:off x="457188" y="3116979"/>
            <a:ext cx="8044983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14" name="Marcador de texto 7">
            <a:extLst>
              <a:ext uri="{FF2B5EF4-FFF2-40B4-BE49-F238E27FC236}">
                <a16:creationId xmlns:a16="http://schemas.microsoft.com/office/drawing/2014/main" xmlns="" id="{130CF308-4F12-CF40-8431-48ED26F5E46C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017017" y="2169127"/>
            <a:ext cx="1242881" cy="73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53" name="Marcador de texto 7">
            <a:extLst>
              <a:ext uri="{FF2B5EF4-FFF2-40B4-BE49-F238E27FC236}">
                <a16:creationId xmlns:a16="http://schemas.microsoft.com/office/drawing/2014/main" xmlns="" id="{9381C1C0-80DF-6749-9C03-56994A4072C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2390068" y="2169127"/>
            <a:ext cx="6112106" cy="7367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54" name="Marcador de texto 7">
            <a:extLst>
              <a:ext uri="{FF2B5EF4-FFF2-40B4-BE49-F238E27FC236}">
                <a16:creationId xmlns:a16="http://schemas.microsoft.com/office/drawing/2014/main" xmlns="" id="{89620A1F-682C-3E4E-85BD-1A4E04D84C0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390068" y="1733847"/>
            <a:ext cx="4087779" cy="28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55" name="Conector recto 54">
            <a:extLst>
              <a:ext uri="{FF2B5EF4-FFF2-40B4-BE49-F238E27FC236}">
                <a16:creationId xmlns:a16="http://schemas.microsoft.com/office/drawing/2014/main" xmlns="" id="{5880D28B-3A3F-674A-8248-0EF336123F8D}"/>
              </a:ext>
            </a:extLst>
          </p:cNvPr>
          <p:cNvCxnSpPr>
            <a:cxnSpLocks/>
          </p:cNvCxnSpPr>
          <p:nvPr userDrawn="1"/>
        </p:nvCxnSpPr>
        <p:spPr>
          <a:xfrm>
            <a:off x="2390068" y="2042377"/>
            <a:ext cx="6112106" cy="2948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61" name="Marcador de texto 7">
            <a:extLst>
              <a:ext uri="{FF2B5EF4-FFF2-40B4-BE49-F238E27FC236}">
                <a16:creationId xmlns:a16="http://schemas.microsoft.com/office/drawing/2014/main" xmlns="" id="{60D2818D-89F2-5146-96F4-FE5CC94A3B64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449322" y="2169127"/>
            <a:ext cx="468061" cy="399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97" b="0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cxnSp>
        <p:nvCxnSpPr>
          <p:cNvPr id="70" name="Conector recto 69">
            <a:extLst>
              <a:ext uri="{FF2B5EF4-FFF2-40B4-BE49-F238E27FC236}">
                <a16:creationId xmlns:a16="http://schemas.microsoft.com/office/drawing/2014/main" xmlns="" id="{4F3DCFE7-4201-D24B-8EB4-FA55068862F1}"/>
              </a:ext>
            </a:extLst>
          </p:cNvPr>
          <p:cNvCxnSpPr>
            <a:cxnSpLocks/>
          </p:cNvCxnSpPr>
          <p:nvPr userDrawn="1"/>
        </p:nvCxnSpPr>
        <p:spPr>
          <a:xfrm>
            <a:off x="457188" y="4688604"/>
            <a:ext cx="8044983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72" name="Marcador de texto 7">
            <a:extLst>
              <a:ext uri="{FF2B5EF4-FFF2-40B4-BE49-F238E27FC236}">
                <a16:creationId xmlns:a16="http://schemas.microsoft.com/office/drawing/2014/main" xmlns="" id="{2DFAEEC3-0D14-C64D-8AC4-8560CCC11D54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017017" y="3740752"/>
            <a:ext cx="1242881" cy="73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73" name="Marcador de texto 7">
            <a:extLst>
              <a:ext uri="{FF2B5EF4-FFF2-40B4-BE49-F238E27FC236}">
                <a16:creationId xmlns:a16="http://schemas.microsoft.com/office/drawing/2014/main" xmlns="" id="{7BB34F7A-9153-7E41-8706-B75E12C61FAF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2390068" y="3740751"/>
            <a:ext cx="6112106" cy="7367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74" name="Marcador de texto 7">
            <a:extLst>
              <a:ext uri="{FF2B5EF4-FFF2-40B4-BE49-F238E27FC236}">
                <a16:creationId xmlns:a16="http://schemas.microsoft.com/office/drawing/2014/main" xmlns="" id="{D350E885-470E-4544-9B96-6265ACDD38BD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2390068" y="3305472"/>
            <a:ext cx="4087779" cy="28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75" name="Conector recto 74">
            <a:extLst>
              <a:ext uri="{FF2B5EF4-FFF2-40B4-BE49-F238E27FC236}">
                <a16:creationId xmlns:a16="http://schemas.microsoft.com/office/drawing/2014/main" xmlns="" id="{0DA84D03-C754-C246-AC09-A3CAE3A0D217}"/>
              </a:ext>
            </a:extLst>
          </p:cNvPr>
          <p:cNvCxnSpPr>
            <a:cxnSpLocks/>
          </p:cNvCxnSpPr>
          <p:nvPr userDrawn="1"/>
        </p:nvCxnSpPr>
        <p:spPr>
          <a:xfrm>
            <a:off x="2390068" y="3614001"/>
            <a:ext cx="6112106" cy="2948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79" name="Marcador de texto 7">
            <a:extLst>
              <a:ext uri="{FF2B5EF4-FFF2-40B4-BE49-F238E27FC236}">
                <a16:creationId xmlns:a16="http://schemas.microsoft.com/office/drawing/2014/main" xmlns="" id="{5F033970-6C8B-0E48-A2EF-5615634E1F39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449322" y="3740752"/>
            <a:ext cx="468061" cy="399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97" b="0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81" name="Marcador de texto 7">
            <a:extLst>
              <a:ext uri="{FF2B5EF4-FFF2-40B4-BE49-F238E27FC236}">
                <a16:creationId xmlns:a16="http://schemas.microsoft.com/office/drawing/2014/main" xmlns="" id="{D63CF391-BF7F-E946-8EBB-B83AE538B4ED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1017017" y="5313411"/>
            <a:ext cx="1242881" cy="73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82" name="Marcador de texto 7">
            <a:extLst>
              <a:ext uri="{FF2B5EF4-FFF2-40B4-BE49-F238E27FC236}">
                <a16:creationId xmlns:a16="http://schemas.microsoft.com/office/drawing/2014/main" xmlns="" id="{B22EF754-D625-F14C-8B51-B265491331F8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2390068" y="5313411"/>
            <a:ext cx="6112106" cy="7367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83" name="Marcador de texto 7">
            <a:extLst>
              <a:ext uri="{FF2B5EF4-FFF2-40B4-BE49-F238E27FC236}">
                <a16:creationId xmlns:a16="http://schemas.microsoft.com/office/drawing/2014/main" xmlns="" id="{977B32BB-9DE9-AE4E-B3F6-BC2F0A206886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2390068" y="4878132"/>
            <a:ext cx="4087779" cy="28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84" name="Conector recto 83">
            <a:extLst>
              <a:ext uri="{FF2B5EF4-FFF2-40B4-BE49-F238E27FC236}">
                <a16:creationId xmlns:a16="http://schemas.microsoft.com/office/drawing/2014/main" xmlns="" id="{075E9141-63D8-A545-AC28-243D934CB544}"/>
              </a:ext>
            </a:extLst>
          </p:cNvPr>
          <p:cNvCxnSpPr>
            <a:cxnSpLocks/>
          </p:cNvCxnSpPr>
          <p:nvPr userDrawn="1"/>
        </p:nvCxnSpPr>
        <p:spPr>
          <a:xfrm>
            <a:off x="2390068" y="5186662"/>
            <a:ext cx="6112106" cy="2948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88" name="Marcador de texto 7">
            <a:extLst>
              <a:ext uri="{FF2B5EF4-FFF2-40B4-BE49-F238E27FC236}">
                <a16:creationId xmlns:a16="http://schemas.microsoft.com/office/drawing/2014/main" xmlns="" id="{B99DB37B-609E-1B46-AF58-881DFC2469EA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449322" y="5313411"/>
            <a:ext cx="468061" cy="399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97" b="0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37" name="Marcador de texto 7">
            <a:extLst>
              <a:ext uri="{FF2B5EF4-FFF2-40B4-BE49-F238E27FC236}">
                <a16:creationId xmlns:a16="http://schemas.microsoft.com/office/drawing/2014/main" xmlns="" id="{8668C0C2-6225-9D4F-ABD5-08A2EAB9673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299489" y="1932631"/>
            <a:ext cx="2383013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38" name="Marcador de texto 7">
            <a:extLst>
              <a:ext uri="{FF2B5EF4-FFF2-40B4-BE49-F238E27FC236}">
                <a16:creationId xmlns:a16="http://schemas.microsoft.com/office/drawing/2014/main" xmlns="" id="{FE6A9022-71A7-0D4D-94F7-2B454E9F5A1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299489" y="2507670"/>
            <a:ext cx="2383013" cy="345374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39" name="Marcador de texto 4">
            <a:extLst>
              <a:ext uri="{FF2B5EF4-FFF2-40B4-BE49-F238E27FC236}">
                <a16:creationId xmlns:a16="http://schemas.microsoft.com/office/drawing/2014/main" xmlns="" id="{7CE877C8-6FB2-CF43-A084-04A7252530E3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57264" y="6475945"/>
            <a:ext cx="8377595" cy="371826"/>
          </a:xfrm>
          <a:prstGeom prst="rect">
            <a:avLst/>
          </a:prstGeom>
        </p:spPr>
        <p:txBody>
          <a:bodyPr/>
          <a:lstStyle>
            <a:lvl1pPr marL="228339" indent="-228339">
              <a:lnSpc>
                <a:spcPct val="100000"/>
              </a:lnSpc>
              <a:spcBef>
                <a:spcPts val="100"/>
              </a:spcBef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900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Texto primera fuente Arial 9</a:t>
            </a:r>
          </a:p>
          <a:p>
            <a:pPr lvl="0"/>
            <a:r>
              <a:rPr lang="es-CL" dirty="0"/>
              <a:t>Texto segunda fuente Arial 9</a:t>
            </a:r>
          </a:p>
        </p:txBody>
      </p:sp>
      <p:sp>
        <p:nvSpPr>
          <p:cNvPr id="31" name="Línea">
            <a:extLst>
              <a:ext uri="{FF2B5EF4-FFF2-40B4-BE49-F238E27FC236}">
                <a16:creationId xmlns:a16="http://schemas.microsoft.com/office/drawing/2014/main" xmlns="" id="{E4A7219B-443C-494D-9076-3FC55AAAD0AF}"/>
              </a:ext>
            </a:extLst>
          </p:cNvPr>
          <p:cNvSpPr/>
          <p:nvPr userDrawn="1"/>
        </p:nvSpPr>
        <p:spPr>
          <a:xfrm>
            <a:off x="8735928" y="1744736"/>
            <a:ext cx="280117" cy="432211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11" y="0"/>
                </a:moveTo>
                <a:lnTo>
                  <a:pt x="21600" y="10870"/>
                </a:lnTo>
                <a:lnTo>
                  <a:pt x="0" y="21600"/>
                </a:lnTo>
              </a:path>
            </a:pathLst>
          </a:custGeom>
          <a:ln w="114300">
            <a:solidFill>
              <a:schemeClr val="accent3">
                <a:lumMod val="40000"/>
                <a:lumOff val="60000"/>
              </a:schemeClr>
            </a:solidFill>
            <a:prstDash val="solid"/>
            <a:miter lim="400000"/>
          </a:ln>
        </p:spPr>
        <p:txBody>
          <a:bodyPr lIns="25372" tIns="25372" rIns="25372" bIns="25372" anchor="ctr"/>
          <a:lstStyle/>
          <a:p>
            <a:pPr defTabSz="1217024">
              <a:defRPr>
                <a:latin typeface="Arial"/>
                <a:ea typeface="Arial"/>
                <a:cs typeface="Arial"/>
                <a:sym typeface="Arial"/>
              </a:defRPr>
            </a:pPr>
            <a:endParaRPr sz="1200" dirty="0">
              <a:latin typeface="Arial"/>
              <a:cs typeface="Arial"/>
              <a:sym typeface="Arial"/>
            </a:endParaRPr>
          </a:p>
        </p:txBody>
      </p:sp>
      <p:sp>
        <p:nvSpPr>
          <p:cNvPr id="32" name="Marcador de número de diapositiva 1">
            <a:extLst>
              <a:ext uri="{FF2B5EF4-FFF2-40B4-BE49-F238E27FC236}">
                <a16:creationId xmlns:a16="http://schemas.microsoft.com/office/drawing/2014/main" xmlns="" id="{F52DF2DF-D41E-4045-821A-45609E7A60D8}"/>
              </a:ext>
            </a:extLst>
          </p:cNvPr>
          <p:cNvSpPr>
            <a:spLocks noGrp="1"/>
          </p:cNvSpPr>
          <p:nvPr>
            <p:ph type="sldNum" sz="quarter" idx="62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000" dirty="0"/>
          </a:p>
        </p:txBody>
      </p:sp>
      <p:sp>
        <p:nvSpPr>
          <p:cNvPr id="30" name="Marcador de texto 7">
            <a:extLst>
              <a:ext uri="{FF2B5EF4-FFF2-40B4-BE49-F238E27FC236}">
                <a16:creationId xmlns:a16="http://schemas.microsoft.com/office/drawing/2014/main" xmlns="" id="{2126314B-96AE-6A44-81BF-02ABCCDC3EE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33" name="Conector recto 32">
            <a:extLst>
              <a:ext uri="{FF2B5EF4-FFF2-40B4-BE49-F238E27FC236}">
                <a16:creationId xmlns:a16="http://schemas.microsoft.com/office/drawing/2014/main" xmlns="" id="{CEC4F83F-C3E6-C749-981A-0852F322060C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4" name="Marcador de texto 7">
            <a:extLst>
              <a:ext uri="{FF2B5EF4-FFF2-40B4-BE49-F238E27FC236}">
                <a16:creationId xmlns:a16="http://schemas.microsoft.com/office/drawing/2014/main" xmlns="" id="{C0822B04-AEDE-8844-9C60-0E23AD53147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97594654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213" userDrawn="1">
          <p15:clr>
            <a:srgbClr val="FBAE40"/>
          </p15:clr>
        </p15:guide>
        <p15:guide id="3" orient="horz" pos="834" userDrawn="1">
          <p15:clr>
            <a:srgbClr val="FBAE40"/>
          </p15:clr>
        </p15:guide>
        <p15:guide id="4" orient="horz" pos="1940" userDrawn="1">
          <p15:clr>
            <a:srgbClr val="FBAE40"/>
          </p15:clr>
        </p15:guide>
        <p15:guide id="5" orient="horz" pos="2907" userDrawn="1">
          <p15:clr>
            <a:srgbClr val="FBAE40"/>
          </p15:clr>
        </p15:guide>
        <p15:guide id="6" pos="1146" userDrawn="1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comparativa 1 categorías y descripciones +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41" name="Marcador de texto 7">
            <a:extLst>
              <a:ext uri="{FF2B5EF4-FFF2-40B4-BE49-F238E27FC236}">
                <a16:creationId xmlns:a16="http://schemas.microsoft.com/office/drawing/2014/main" xmlns="" id="{4B4FD424-FA2D-1B46-A149-58EF233359F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30789" y="2074603"/>
            <a:ext cx="4701318" cy="7367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46" name="Rectángulo">
            <a:extLst>
              <a:ext uri="{FF2B5EF4-FFF2-40B4-BE49-F238E27FC236}">
                <a16:creationId xmlns:a16="http://schemas.microsoft.com/office/drawing/2014/main" xmlns="" id="{6702EB9E-A1FA-954C-A832-0A7EDF090520}"/>
              </a:ext>
            </a:extLst>
          </p:cNvPr>
          <p:cNvSpPr/>
          <p:nvPr userDrawn="1"/>
        </p:nvSpPr>
        <p:spPr>
          <a:xfrm>
            <a:off x="449322" y="2074612"/>
            <a:ext cx="1513013" cy="528415"/>
          </a:xfrm>
          <a:prstGeom prst="rect">
            <a:avLst/>
          </a:prstGeom>
          <a:solidFill>
            <a:schemeClr val="accent3"/>
          </a:solidFill>
          <a:ln w="12700">
            <a:miter lim="400000"/>
          </a:ln>
        </p:spPr>
        <p:txBody>
          <a:bodyPr lIns="25372" tIns="25372" rIns="25372" bIns="25372" anchor="ctr"/>
          <a:lstStyle/>
          <a:p>
            <a:pPr algn="ctr" defTabSz="412281"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 dirty="0"/>
          </a:p>
        </p:txBody>
      </p:sp>
      <p:sp>
        <p:nvSpPr>
          <p:cNvPr id="60" name="Flecha">
            <a:extLst>
              <a:ext uri="{FF2B5EF4-FFF2-40B4-BE49-F238E27FC236}">
                <a16:creationId xmlns:a16="http://schemas.microsoft.com/office/drawing/2014/main" xmlns="" id="{E6B1C39A-FDE2-BC40-B223-3FEEA317B028}"/>
              </a:ext>
            </a:extLst>
          </p:cNvPr>
          <p:cNvSpPr/>
          <p:nvPr userDrawn="1"/>
        </p:nvSpPr>
        <p:spPr>
          <a:xfrm>
            <a:off x="2230203" y="2074612"/>
            <a:ext cx="1820683" cy="528415"/>
          </a:xfrm>
          <a:prstGeom prst="rightArrow">
            <a:avLst>
              <a:gd name="adj1" fmla="val 97321"/>
              <a:gd name="adj2" fmla="val 24371"/>
            </a:avLst>
          </a:prstGeom>
          <a:solidFill>
            <a:schemeClr val="bg2"/>
          </a:solidFill>
          <a:ln w="12700">
            <a:miter lim="400000"/>
          </a:ln>
        </p:spPr>
        <p:txBody>
          <a:bodyPr lIns="0" tIns="0" rIns="0" bIns="0"/>
          <a:lstStyle/>
          <a:p>
            <a:pPr algn="ctr" defTabSz="228339">
              <a:defRPr sz="2400">
                <a:solidFill>
                  <a:srgbClr val="595959"/>
                </a:solidFill>
                <a:latin typeface="Barlow Regular"/>
                <a:ea typeface="Barlow Regular"/>
                <a:cs typeface="Barlow Regular"/>
                <a:sym typeface="Barlow Regular"/>
              </a:defRPr>
            </a:pPr>
            <a:endParaRPr sz="1200" dirty="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2" name="Marcador de texto 7">
            <a:extLst>
              <a:ext uri="{FF2B5EF4-FFF2-40B4-BE49-F238E27FC236}">
                <a16:creationId xmlns:a16="http://schemas.microsoft.com/office/drawing/2014/main" xmlns="" id="{D011EE18-427A-614E-A45B-317571E7FBF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230204" y="1635140"/>
            <a:ext cx="2037553" cy="2189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3" name="Conector recto 2">
            <a:extLst>
              <a:ext uri="{FF2B5EF4-FFF2-40B4-BE49-F238E27FC236}">
                <a16:creationId xmlns:a16="http://schemas.microsoft.com/office/drawing/2014/main" xmlns="" id="{E707E9D6-1E74-A645-A036-DEA93AAF701B}"/>
              </a:ext>
            </a:extLst>
          </p:cNvPr>
          <p:cNvCxnSpPr>
            <a:cxnSpLocks/>
          </p:cNvCxnSpPr>
          <p:nvPr userDrawn="1"/>
        </p:nvCxnSpPr>
        <p:spPr>
          <a:xfrm>
            <a:off x="2230207" y="1932778"/>
            <a:ext cx="2037865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63" name="Marcador de texto 7">
            <a:extLst>
              <a:ext uri="{FF2B5EF4-FFF2-40B4-BE49-F238E27FC236}">
                <a16:creationId xmlns:a16="http://schemas.microsoft.com/office/drawing/2014/main" xmlns="" id="{DFCEB778-9AFC-7B4A-9AA5-3D853AD0788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30793" y="1635140"/>
            <a:ext cx="3046253" cy="2189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4</a:t>
            </a:r>
            <a:endParaRPr lang="es-CL" dirty="0"/>
          </a:p>
        </p:txBody>
      </p:sp>
      <p:cxnSp>
        <p:nvCxnSpPr>
          <p:cNvPr id="64" name="Conector recto 63">
            <a:extLst>
              <a:ext uri="{FF2B5EF4-FFF2-40B4-BE49-F238E27FC236}">
                <a16:creationId xmlns:a16="http://schemas.microsoft.com/office/drawing/2014/main" xmlns="" id="{516A11E3-D171-8641-AA4E-29E854F66822}"/>
              </a:ext>
            </a:extLst>
          </p:cNvPr>
          <p:cNvCxnSpPr>
            <a:cxnSpLocks/>
          </p:cNvCxnSpPr>
          <p:nvPr userDrawn="1"/>
        </p:nvCxnSpPr>
        <p:spPr>
          <a:xfrm>
            <a:off x="4430789" y="1932778"/>
            <a:ext cx="4701318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65" name="Marcador de texto 7">
            <a:extLst>
              <a:ext uri="{FF2B5EF4-FFF2-40B4-BE49-F238E27FC236}">
                <a16:creationId xmlns:a16="http://schemas.microsoft.com/office/drawing/2014/main" xmlns="" id="{D5CE23AB-F9F3-1C45-A483-0BE13E6B14A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383392" y="2074610"/>
            <a:ext cx="2354941" cy="7379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66" name="Marcador de texto 7">
            <a:extLst>
              <a:ext uri="{FF2B5EF4-FFF2-40B4-BE49-F238E27FC236}">
                <a16:creationId xmlns:a16="http://schemas.microsoft.com/office/drawing/2014/main" xmlns="" id="{8B692A92-E8A9-7C47-AD18-4649F0D2100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383392" y="1635140"/>
            <a:ext cx="2326952" cy="2189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67" name="Conector recto 66">
            <a:extLst>
              <a:ext uri="{FF2B5EF4-FFF2-40B4-BE49-F238E27FC236}">
                <a16:creationId xmlns:a16="http://schemas.microsoft.com/office/drawing/2014/main" xmlns="" id="{4F85BE26-F0D1-724D-91CA-79E04ECAC02F}"/>
              </a:ext>
            </a:extLst>
          </p:cNvPr>
          <p:cNvCxnSpPr>
            <a:cxnSpLocks/>
          </p:cNvCxnSpPr>
          <p:nvPr userDrawn="1"/>
        </p:nvCxnSpPr>
        <p:spPr>
          <a:xfrm>
            <a:off x="9383392" y="1932778"/>
            <a:ext cx="2354941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69" name="Marcador de texto 7">
            <a:extLst>
              <a:ext uri="{FF2B5EF4-FFF2-40B4-BE49-F238E27FC236}">
                <a16:creationId xmlns:a16="http://schemas.microsoft.com/office/drawing/2014/main" xmlns="" id="{661B3AB6-9A76-2B4A-8C31-709E7AD6C6A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297447" y="2098916"/>
            <a:ext cx="1602376" cy="47023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71" name="Marcador de texto 7">
            <a:extLst>
              <a:ext uri="{FF2B5EF4-FFF2-40B4-BE49-F238E27FC236}">
                <a16:creationId xmlns:a16="http://schemas.microsoft.com/office/drawing/2014/main" xmlns="" id="{6DF521A9-C541-1D4C-879C-AB754287F02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29181" y="2098916"/>
            <a:ext cx="1308175" cy="47023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98" name="Marcador de texto 7">
            <a:extLst>
              <a:ext uri="{FF2B5EF4-FFF2-40B4-BE49-F238E27FC236}">
                <a16:creationId xmlns:a16="http://schemas.microsoft.com/office/drawing/2014/main" xmlns="" id="{2B2B38A7-1E90-DD47-A64D-948E5F2F8B1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430789" y="3688250"/>
            <a:ext cx="4701318" cy="7367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99" name="Rectángulo">
            <a:extLst>
              <a:ext uri="{FF2B5EF4-FFF2-40B4-BE49-F238E27FC236}">
                <a16:creationId xmlns:a16="http://schemas.microsoft.com/office/drawing/2014/main" xmlns="" id="{FD1CB431-1820-2345-98EC-38025759AF2F}"/>
              </a:ext>
            </a:extLst>
          </p:cNvPr>
          <p:cNvSpPr/>
          <p:nvPr userDrawn="1"/>
        </p:nvSpPr>
        <p:spPr>
          <a:xfrm>
            <a:off x="449322" y="3688254"/>
            <a:ext cx="1513013" cy="528415"/>
          </a:xfrm>
          <a:prstGeom prst="rect">
            <a:avLst/>
          </a:prstGeom>
          <a:solidFill>
            <a:schemeClr val="accent3"/>
          </a:solidFill>
          <a:ln w="12700">
            <a:miter lim="400000"/>
          </a:ln>
        </p:spPr>
        <p:txBody>
          <a:bodyPr lIns="25372" tIns="25372" rIns="25372" bIns="25372" anchor="ctr"/>
          <a:lstStyle/>
          <a:p>
            <a:pPr algn="ctr" defTabSz="412281"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 dirty="0"/>
          </a:p>
        </p:txBody>
      </p:sp>
      <p:sp>
        <p:nvSpPr>
          <p:cNvPr id="100" name="Flecha">
            <a:extLst>
              <a:ext uri="{FF2B5EF4-FFF2-40B4-BE49-F238E27FC236}">
                <a16:creationId xmlns:a16="http://schemas.microsoft.com/office/drawing/2014/main" xmlns="" id="{51D30188-BA2F-E041-9E44-E9C991347A3B}"/>
              </a:ext>
            </a:extLst>
          </p:cNvPr>
          <p:cNvSpPr/>
          <p:nvPr userDrawn="1"/>
        </p:nvSpPr>
        <p:spPr>
          <a:xfrm>
            <a:off x="2230203" y="3688254"/>
            <a:ext cx="1820683" cy="528415"/>
          </a:xfrm>
          <a:prstGeom prst="rightArrow">
            <a:avLst>
              <a:gd name="adj1" fmla="val 97321"/>
              <a:gd name="adj2" fmla="val 24371"/>
            </a:avLst>
          </a:prstGeom>
          <a:solidFill>
            <a:schemeClr val="accent4"/>
          </a:solidFill>
          <a:ln w="12700">
            <a:miter lim="400000"/>
          </a:ln>
        </p:spPr>
        <p:txBody>
          <a:bodyPr lIns="0" tIns="0" rIns="0" bIns="0"/>
          <a:lstStyle/>
          <a:p>
            <a:pPr algn="ctr" defTabSz="228339">
              <a:defRPr sz="2400">
                <a:solidFill>
                  <a:srgbClr val="595959"/>
                </a:solidFill>
                <a:latin typeface="Barlow Regular"/>
                <a:ea typeface="Barlow Regular"/>
                <a:cs typeface="Barlow Regular"/>
                <a:sym typeface="Barlow Regular"/>
              </a:defRPr>
            </a:pPr>
            <a:endParaRPr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1" name="Marcador de texto 7">
            <a:extLst>
              <a:ext uri="{FF2B5EF4-FFF2-40B4-BE49-F238E27FC236}">
                <a16:creationId xmlns:a16="http://schemas.microsoft.com/office/drawing/2014/main" xmlns="" id="{BE0B497D-B44F-C24C-8E29-BD07AF0EDD0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2230204" y="3248791"/>
            <a:ext cx="2037553" cy="2189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accent4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102" name="Conector recto 101">
            <a:extLst>
              <a:ext uri="{FF2B5EF4-FFF2-40B4-BE49-F238E27FC236}">
                <a16:creationId xmlns:a16="http://schemas.microsoft.com/office/drawing/2014/main" xmlns="" id="{FA62AC02-A4CB-9E42-9966-0638ADE12337}"/>
              </a:ext>
            </a:extLst>
          </p:cNvPr>
          <p:cNvCxnSpPr>
            <a:cxnSpLocks/>
          </p:cNvCxnSpPr>
          <p:nvPr userDrawn="1"/>
        </p:nvCxnSpPr>
        <p:spPr>
          <a:xfrm>
            <a:off x="2230202" y="3546425"/>
            <a:ext cx="2037551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3" name="Marcador de texto 7">
            <a:extLst>
              <a:ext uri="{FF2B5EF4-FFF2-40B4-BE49-F238E27FC236}">
                <a16:creationId xmlns:a16="http://schemas.microsoft.com/office/drawing/2014/main" xmlns="" id="{1BD4B4BB-F73A-8C47-9D90-CEC7DD3B41B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430793" y="3248791"/>
            <a:ext cx="3046253" cy="2189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accent4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104" name="Conector recto 103">
            <a:extLst>
              <a:ext uri="{FF2B5EF4-FFF2-40B4-BE49-F238E27FC236}">
                <a16:creationId xmlns:a16="http://schemas.microsoft.com/office/drawing/2014/main" xmlns="" id="{0C6E77F8-65E8-494D-8105-C0A16B41DC03}"/>
              </a:ext>
            </a:extLst>
          </p:cNvPr>
          <p:cNvCxnSpPr>
            <a:cxnSpLocks/>
          </p:cNvCxnSpPr>
          <p:nvPr userDrawn="1"/>
        </p:nvCxnSpPr>
        <p:spPr>
          <a:xfrm>
            <a:off x="4430789" y="3546425"/>
            <a:ext cx="4701318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5" name="Marcador de texto 7">
            <a:extLst>
              <a:ext uri="{FF2B5EF4-FFF2-40B4-BE49-F238E27FC236}">
                <a16:creationId xmlns:a16="http://schemas.microsoft.com/office/drawing/2014/main" xmlns="" id="{15E1D5D8-969C-0C47-A83E-5B4A68DB305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383392" y="3688252"/>
            <a:ext cx="2354941" cy="7379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106" name="Marcador de texto 7">
            <a:extLst>
              <a:ext uri="{FF2B5EF4-FFF2-40B4-BE49-F238E27FC236}">
                <a16:creationId xmlns:a16="http://schemas.microsoft.com/office/drawing/2014/main" xmlns="" id="{5DC833E3-6DB7-4D44-8269-BEE4CDA6C7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383392" y="3248791"/>
            <a:ext cx="2326952" cy="2189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107" name="Conector recto 106">
            <a:extLst>
              <a:ext uri="{FF2B5EF4-FFF2-40B4-BE49-F238E27FC236}">
                <a16:creationId xmlns:a16="http://schemas.microsoft.com/office/drawing/2014/main" xmlns="" id="{3DD43F7B-D2ED-9042-8179-8A0FE56FD61C}"/>
              </a:ext>
            </a:extLst>
          </p:cNvPr>
          <p:cNvCxnSpPr>
            <a:cxnSpLocks/>
          </p:cNvCxnSpPr>
          <p:nvPr userDrawn="1"/>
        </p:nvCxnSpPr>
        <p:spPr>
          <a:xfrm>
            <a:off x="9383392" y="3546425"/>
            <a:ext cx="2354941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9" name="Marcador de texto 7">
            <a:extLst>
              <a:ext uri="{FF2B5EF4-FFF2-40B4-BE49-F238E27FC236}">
                <a16:creationId xmlns:a16="http://schemas.microsoft.com/office/drawing/2014/main" xmlns="" id="{B64B1C12-DD64-304A-8558-8A688B339723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297447" y="3712568"/>
            <a:ext cx="1602376" cy="44483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110" name="Marcador de texto 7">
            <a:extLst>
              <a:ext uri="{FF2B5EF4-FFF2-40B4-BE49-F238E27FC236}">
                <a16:creationId xmlns:a16="http://schemas.microsoft.com/office/drawing/2014/main" xmlns="" id="{D674B401-78C8-414C-A501-6F69894D59F1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29181" y="3712562"/>
            <a:ext cx="1308175" cy="47023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111" name="Marcador de texto 7">
            <a:extLst>
              <a:ext uri="{FF2B5EF4-FFF2-40B4-BE49-F238E27FC236}">
                <a16:creationId xmlns:a16="http://schemas.microsoft.com/office/drawing/2014/main" xmlns="" id="{61CDEF0A-D72C-2648-9BF7-D2A388DD586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430789" y="5452834"/>
            <a:ext cx="4701318" cy="7367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112" name="Rectángulo">
            <a:extLst>
              <a:ext uri="{FF2B5EF4-FFF2-40B4-BE49-F238E27FC236}">
                <a16:creationId xmlns:a16="http://schemas.microsoft.com/office/drawing/2014/main" xmlns="" id="{82768CE9-E1C4-3D4C-81F7-4374324630CD}"/>
              </a:ext>
            </a:extLst>
          </p:cNvPr>
          <p:cNvSpPr/>
          <p:nvPr userDrawn="1"/>
        </p:nvSpPr>
        <p:spPr>
          <a:xfrm>
            <a:off x="449322" y="5452843"/>
            <a:ext cx="1513013" cy="528415"/>
          </a:xfrm>
          <a:prstGeom prst="rect">
            <a:avLst/>
          </a:prstGeom>
          <a:solidFill>
            <a:schemeClr val="accent3"/>
          </a:solidFill>
          <a:ln w="12700">
            <a:miter lim="400000"/>
          </a:ln>
        </p:spPr>
        <p:txBody>
          <a:bodyPr lIns="25372" tIns="25372" rIns="25372" bIns="25372" anchor="ctr"/>
          <a:lstStyle/>
          <a:p>
            <a:pPr algn="ctr" defTabSz="412281"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 dirty="0"/>
          </a:p>
        </p:txBody>
      </p:sp>
      <p:sp>
        <p:nvSpPr>
          <p:cNvPr id="113" name="Flecha">
            <a:extLst>
              <a:ext uri="{FF2B5EF4-FFF2-40B4-BE49-F238E27FC236}">
                <a16:creationId xmlns:a16="http://schemas.microsoft.com/office/drawing/2014/main" xmlns="" id="{11B2D5B3-C3A5-5A46-B783-E9DB7956E3FC}"/>
              </a:ext>
            </a:extLst>
          </p:cNvPr>
          <p:cNvSpPr/>
          <p:nvPr userDrawn="1"/>
        </p:nvSpPr>
        <p:spPr>
          <a:xfrm>
            <a:off x="2230203" y="5452843"/>
            <a:ext cx="1820683" cy="528415"/>
          </a:xfrm>
          <a:prstGeom prst="rightArrow">
            <a:avLst>
              <a:gd name="adj1" fmla="val 97321"/>
              <a:gd name="adj2" fmla="val 24371"/>
            </a:avLst>
          </a:prstGeom>
          <a:solidFill>
            <a:schemeClr val="accent1"/>
          </a:solidFill>
          <a:ln w="12700">
            <a:miter lim="400000"/>
          </a:ln>
        </p:spPr>
        <p:txBody>
          <a:bodyPr lIns="0" tIns="0" rIns="0" bIns="0"/>
          <a:lstStyle/>
          <a:p>
            <a:pPr algn="ctr" defTabSz="228339">
              <a:defRPr sz="2400">
                <a:solidFill>
                  <a:srgbClr val="595959"/>
                </a:solidFill>
                <a:latin typeface="Barlow Regular"/>
                <a:ea typeface="Barlow Regular"/>
                <a:cs typeface="Barlow Regular"/>
                <a:sym typeface="Barlow Regular"/>
              </a:defRPr>
            </a:pPr>
            <a:endParaRPr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4" name="Marcador de texto 7">
            <a:extLst>
              <a:ext uri="{FF2B5EF4-FFF2-40B4-BE49-F238E27FC236}">
                <a16:creationId xmlns:a16="http://schemas.microsoft.com/office/drawing/2014/main" xmlns="" id="{130CF308-4F12-CF40-8431-48ED26F5E46C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2230204" y="5013374"/>
            <a:ext cx="2037553" cy="2189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accent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115" name="Conector recto 114">
            <a:extLst>
              <a:ext uri="{FF2B5EF4-FFF2-40B4-BE49-F238E27FC236}">
                <a16:creationId xmlns:a16="http://schemas.microsoft.com/office/drawing/2014/main" xmlns="" id="{0312E910-2788-3D48-B437-F32CE1E92226}"/>
              </a:ext>
            </a:extLst>
          </p:cNvPr>
          <p:cNvCxnSpPr>
            <a:cxnSpLocks/>
          </p:cNvCxnSpPr>
          <p:nvPr userDrawn="1"/>
        </p:nvCxnSpPr>
        <p:spPr>
          <a:xfrm>
            <a:off x="2230207" y="5311009"/>
            <a:ext cx="2037865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16" name="Marcador de texto 7">
            <a:extLst>
              <a:ext uri="{FF2B5EF4-FFF2-40B4-BE49-F238E27FC236}">
                <a16:creationId xmlns:a16="http://schemas.microsoft.com/office/drawing/2014/main" xmlns="" id="{F003F3C9-833A-0E40-989F-A1E89E66731F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456853" y="5013374"/>
            <a:ext cx="3046253" cy="2189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accent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117" name="Conector recto 116">
            <a:extLst>
              <a:ext uri="{FF2B5EF4-FFF2-40B4-BE49-F238E27FC236}">
                <a16:creationId xmlns:a16="http://schemas.microsoft.com/office/drawing/2014/main" xmlns="" id="{D297A162-44E6-444F-B15F-B309FAC6EC0E}"/>
              </a:ext>
            </a:extLst>
          </p:cNvPr>
          <p:cNvCxnSpPr>
            <a:cxnSpLocks/>
          </p:cNvCxnSpPr>
          <p:nvPr userDrawn="1"/>
        </p:nvCxnSpPr>
        <p:spPr>
          <a:xfrm>
            <a:off x="4444973" y="5311009"/>
            <a:ext cx="4701318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18" name="Marcador de texto 7">
            <a:extLst>
              <a:ext uri="{FF2B5EF4-FFF2-40B4-BE49-F238E27FC236}">
                <a16:creationId xmlns:a16="http://schemas.microsoft.com/office/drawing/2014/main" xmlns="" id="{B40D342A-9934-D247-8506-3C04BA2012CC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383388" y="5452841"/>
            <a:ext cx="2354707" cy="7379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119" name="Marcador de texto 7">
            <a:extLst>
              <a:ext uri="{FF2B5EF4-FFF2-40B4-BE49-F238E27FC236}">
                <a16:creationId xmlns:a16="http://schemas.microsoft.com/office/drawing/2014/main" xmlns="" id="{DDA9AE97-84A3-694E-9294-BAFBA6FBC7E4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409454" y="5013374"/>
            <a:ext cx="2326952" cy="2189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120" name="Conector recto 119">
            <a:extLst>
              <a:ext uri="{FF2B5EF4-FFF2-40B4-BE49-F238E27FC236}">
                <a16:creationId xmlns:a16="http://schemas.microsoft.com/office/drawing/2014/main" xmlns="" id="{52E5032A-A04E-AF48-A2B4-4FCA1E59EB6C}"/>
              </a:ext>
            </a:extLst>
          </p:cNvPr>
          <p:cNvCxnSpPr>
            <a:cxnSpLocks/>
          </p:cNvCxnSpPr>
          <p:nvPr userDrawn="1"/>
        </p:nvCxnSpPr>
        <p:spPr>
          <a:xfrm>
            <a:off x="9409453" y="5311009"/>
            <a:ext cx="2354941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22" name="Marcador de texto 7">
            <a:extLst>
              <a:ext uri="{FF2B5EF4-FFF2-40B4-BE49-F238E27FC236}">
                <a16:creationId xmlns:a16="http://schemas.microsoft.com/office/drawing/2014/main" xmlns="" id="{EE07E9DC-AD79-9F43-9AA5-4C2F72B701EE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2297447" y="5477146"/>
            <a:ext cx="1602376" cy="47023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123" name="Marcador de texto 7">
            <a:extLst>
              <a:ext uri="{FF2B5EF4-FFF2-40B4-BE49-F238E27FC236}">
                <a16:creationId xmlns:a16="http://schemas.microsoft.com/office/drawing/2014/main" xmlns="" id="{9E332173-B33D-EE42-B963-112D06843FB2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529181" y="5477146"/>
            <a:ext cx="1308175" cy="47023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47" name="Marcador de texto 4">
            <a:extLst>
              <a:ext uri="{FF2B5EF4-FFF2-40B4-BE49-F238E27FC236}">
                <a16:creationId xmlns:a16="http://schemas.microsoft.com/office/drawing/2014/main" xmlns="" id="{5A23BCE0-B3C8-6349-8275-A9F9C2986204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457264" y="6475945"/>
            <a:ext cx="8377595" cy="371826"/>
          </a:xfrm>
          <a:prstGeom prst="rect">
            <a:avLst/>
          </a:prstGeom>
        </p:spPr>
        <p:txBody>
          <a:bodyPr/>
          <a:lstStyle>
            <a:lvl1pPr marL="228339" indent="-228339">
              <a:lnSpc>
                <a:spcPct val="100000"/>
              </a:lnSpc>
              <a:spcBef>
                <a:spcPts val="100"/>
              </a:spcBef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900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Texto primera fuente Arial 9</a:t>
            </a:r>
          </a:p>
          <a:p>
            <a:pPr lvl="0"/>
            <a:r>
              <a:rPr lang="es-CL" dirty="0"/>
              <a:t>Texto sfuente Arial 9</a:t>
            </a:r>
          </a:p>
        </p:txBody>
      </p:sp>
      <p:sp>
        <p:nvSpPr>
          <p:cNvPr id="48" name="Marcador de número de diapositiva 1">
            <a:extLst>
              <a:ext uri="{FF2B5EF4-FFF2-40B4-BE49-F238E27FC236}">
                <a16:creationId xmlns:a16="http://schemas.microsoft.com/office/drawing/2014/main" xmlns="" id="{4D3AD217-54D1-EB46-9D9E-E3862C7770C2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000" dirty="0"/>
          </a:p>
        </p:txBody>
      </p:sp>
      <p:sp>
        <p:nvSpPr>
          <p:cNvPr id="44" name="Marcador de texto 7">
            <a:extLst>
              <a:ext uri="{FF2B5EF4-FFF2-40B4-BE49-F238E27FC236}">
                <a16:creationId xmlns:a16="http://schemas.microsoft.com/office/drawing/2014/main" xmlns="" id="{1EBA4C2B-415F-F647-8DDB-B89719D2FE4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51" name="Conector recto 50">
            <a:extLst>
              <a:ext uri="{FF2B5EF4-FFF2-40B4-BE49-F238E27FC236}">
                <a16:creationId xmlns:a16="http://schemas.microsoft.com/office/drawing/2014/main" xmlns="" id="{39D63CAF-5D43-CF41-B5C6-DB3590DD9B61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52" name="Marcador de texto 7">
            <a:extLst>
              <a:ext uri="{FF2B5EF4-FFF2-40B4-BE49-F238E27FC236}">
                <a16:creationId xmlns:a16="http://schemas.microsoft.com/office/drawing/2014/main" xmlns="" id="{973FAB7E-A456-F442-8185-B05E394C55C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91402311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213" userDrawn="1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rta Gantt Think-C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7" name="Marcador de contenido 6">
            <a:extLst>
              <a:ext uri="{FF2B5EF4-FFF2-40B4-BE49-F238E27FC236}">
                <a16:creationId xmlns:a16="http://schemas.microsoft.com/office/drawing/2014/main" xmlns="" id="{C1B8FB80-D582-7D41-94DF-9DC79634318C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49325" y="1620839"/>
            <a:ext cx="11287080" cy="473036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60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455" indent="0">
              <a:buFontTx/>
              <a:buNone/>
              <a:defRPr sz="130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08908" indent="0">
              <a:buFontTx/>
              <a:buNone/>
              <a:defRPr sz="130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13363" indent="0">
              <a:buFontTx/>
              <a:buNone/>
              <a:defRPr sz="130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17816" indent="0">
              <a:buFontTx/>
              <a:buNone/>
              <a:defRPr sz="130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Insertar gráfico o carta </a:t>
            </a:r>
            <a:r>
              <a:rPr lang="es-ES" dirty="0" err="1"/>
              <a:t>gantt</a:t>
            </a:r>
            <a:endParaRPr lang="es-CL" dirty="0"/>
          </a:p>
        </p:txBody>
      </p:sp>
      <p:sp>
        <p:nvSpPr>
          <p:cNvPr id="10" name="Marcador de número de diapositiva 1">
            <a:extLst>
              <a:ext uri="{FF2B5EF4-FFF2-40B4-BE49-F238E27FC236}">
                <a16:creationId xmlns:a16="http://schemas.microsoft.com/office/drawing/2014/main" xmlns="" id="{A92E6723-6A59-0246-B1F5-4E38B0A329F9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000" dirty="0"/>
          </a:p>
        </p:txBody>
      </p:sp>
      <p:sp>
        <p:nvSpPr>
          <p:cNvPr id="9" name="Marcador de texto 7">
            <a:extLst>
              <a:ext uri="{FF2B5EF4-FFF2-40B4-BE49-F238E27FC236}">
                <a16:creationId xmlns:a16="http://schemas.microsoft.com/office/drawing/2014/main" xmlns="" id="{F8D15FBA-E309-7841-A774-A131E4439BA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1" name="Conector recto 10">
            <a:extLst>
              <a:ext uri="{FF2B5EF4-FFF2-40B4-BE49-F238E27FC236}">
                <a16:creationId xmlns:a16="http://schemas.microsoft.com/office/drawing/2014/main" xmlns="" id="{9A186DD1-24AC-5146-808E-C8D243C07626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2" name="Marcador de texto 7">
            <a:extLst>
              <a:ext uri="{FF2B5EF4-FFF2-40B4-BE49-F238E27FC236}">
                <a16:creationId xmlns:a16="http://schemas.microsoft.com/office/drawing/2014/main" xmlns="" id="{548673D1-134B-6041-B11F-D6B0AB5EF94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56589967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46" userDrawn="1">
          <p15:clr>
            <a:srgbClr val="FBAE40"/>
          </p15:clr>
        </p15:guide>
        <p15:guide id="2" pos="213" userDrawn="1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enumeració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43" name="Marcador de texto 7">
            <a:extLst>
              <a:ext uri="{FF2B5EF4-FFF2-40B4-BE49-F238E27FC236}">
                <a16:creationId xmlns:a16="http://schemas.microsoft.com/office/drawing/2014/main" xmlns="" id="{CF985600-E7D8-9E44-82E9-F97AD68006A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83854" y="2023281"/>
            <a:ext cx="6997101" cy="7587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44" name="Marcador de texto 7">
            <a:extLst>
              <a:ext uri="{FF2B5EF4-FFF2-40B4-BE49-F238E27FC236}">
                <a16:creationId xmlns:a16="http://schemas.microsoft.com/office/drawing/2014/main" xmlns="" id="{06EBF3F5-82CF-3447-9CBB-BB0F933A65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07216" y="2196212"/>
            <a:ext cx="1257464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90" name="Conector recto 89">
            <a:extLst>
              <a:ext uri="{FF2B5EF4-FFF2-40B4-BE49-F238E27FC236}">
                <a16:creationId xmlns:a16="http://schemas.microsoft.com/office/drawing/2014/main" xmlns="" id="{918C4B25-4DE6-4C44-8031-9999A5B2D42B}"/>
              </a:ext>
            </a:extLst>
          </p:cNvPr>
          <p:cNvCxnSpPr/>
          <p:nvPr userDrawn="1"/>
        </p:nvCxnSpPr>
        <p:spPr>
          <a:xfrm>
            <a:off x="3778241" y="1978138"/>
            <a:ext cx="0" cy="849066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94" name="Marcador de texto 7">
            <a:extLst>
              <a:ext uri="{FF2B5EF4-FFF2-40B4-BE49-F238E27FC236}">
                <a16:creationId xmlns:a16="http://schemas.microsoft.com/office/drawing/2014/main" xmlns="" id="{E88A7927-DC3B-3544-BD64-28D716E9EF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83854" y="3114899"/>
            <a:ext cx="6997101" cy="7587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95" name="Marcador de texto 7">
            <a:extLst>
              <a:ext uri="{FF2B5EF4-FFF2-40B4-BE49-F238E27FC236}">
                <a16:creationId xmlns:a16="http://schemas.microsoft.com/office/drawing/2014/main" xmlns="" id="{F1AE937D-E749-AB49-A58B-96D93517F82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107216" y="3287829"/>
            <a:ext cx="1257464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96" name="Conector recto 95">
            <a:extLst>
              <a:ext uri="{FF2B5EF4-FFF2-40B4-BE49-F238E27FC236}">
                <a16:creationId xmlns:a16="http://schemas.microsoft.com/office/drawing/2014/main" xmlns="" id="{82B8DDEA-E931-994F-86BA-42BAB21F35DB}"/>
              </a:ext>
            </a:extLst>
          </p:cNvPr>
          <p:cNvCxnSpPr/>
          <p:nvPr userDrawn="1"/>
        </p:nvCxnSpPr>
        <p:spPr>
          <a:xfrm>
            <a:off x="3778241" y="3069756"/>
            <a:ext cx="0" cy="849066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0" name="Marcador de texto 7">
            <a:extLst>
              <a:ext uri="{FF2B5EF4-FFF2-40B4-BE49-F238E27FC236}">
                <a16:creationId xmlns:a16="http://schemas.microsoft.com/office/drawing/2014/main" xmlns="" id="{32B82F2E-C60E-4F49-9E04-817DE4A46A4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83854" y="4206516"/>
            <a:ext cx="6997101" cy="7587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101" name="Marcador de texto 7">
            <a:extLst>
              <a:ext uri="{FF2B5EF4-FFF2-40B4-BE49-F238E27FC236}">
                <a16:creationId xmlns:a16="http://schemas.microsoft.com/office/drawing/2014/main" xmlns="" id="{53ACC097-9A1C-3241-80E5-4FA2DBCD5E9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107216" y="4379447"/>
            <a:ext cx="1257464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102" name="Conector recto 101">
            <a:extLst>
              <a:ext uri="{FF2B5EF4-FFF2-40B4-BE49-F238E27FC236}">
                <a16:creationId xmlns:a16="http://schemas.microsoft.com/office/drawing/2014/main" xmlns="" id="{25F53A69-89D3-734D-9B06-56318A2B5E6E}"/>
              </a:ext>
            </a:extLst>
          </p:cNvPr>
          <p:cNvCxnSpPr/>
          <p:nvPr userDrawn="1"/>
        </p:nvCxnSpPr>
        <p:spPr>
          <a:xfrm>
            <a:off x="3778241" y="4161373"/>
            <a:ext cx="0" cy="849066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6" name="Marcador de texto 7">
            <a:extLst>
              <a:ext uri="{FF2B5EF4-FFF2-40B4-BE49-F238E27FC236}">
                <a16:creationId xmlns:a16="http://schemas.microsoft.com/office/drawing/2014/main" xmlns="" id="{E5228B0D-DF98-794A-B213-566DD6D0005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183854" y="5298133"/>
            <a:ext cx="6997101" cy="7587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107" name="Marcador de texto 7">
            <a:extLst>
              <a:ext uri="{FF2B5EF4-FFF2-40B4-BE49-F238E27FC236}">
                <a16:creationId xmlns:a16="http://schemas.microsoft.com/office/drawing/2014/main" xmlns="" id="{12AA98F3-ECF0-0846-98CE-48B524FC174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107216" y="5471064"/>
            <a:ext cx="1257464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108" name="Conector recto 107">
            <a:extLst>
              <a:ext uri="{FF2B5EF4-FFF2-40B4-BE49-F238E27FC236}">
                <a16:creationId xmlns:a16="http://schemas.microsoft.com/office/drawing/2014/main" xmlns="" id="{A420EF3B-A9EA-F74A-AFB4-B01AC7830323}"/>
              </a:ext>
            </a:extLst>
          </p:cNvPr>
          <p:cNvCxnSpPr/>
          <p:nvPr userDrawn="1"/>
        </p:nvCxnSpPr>
        <p:spPr>
          <a:xfrm>
            <a:off x="3778241" y="5252992"/>
            <a:ext cx="0" cy="849066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46" name="Marcador de posición de imagen 3">
            <a:extLst>
              <a:ext uri="{FF2B5EF4-FFF2-40B4-BE49-F238E27FC236}">
                <a16:creationId xmlns:a16="http://schemas.microsoft.com/office/drawing/2014/main" xmlns="" id="{5383AF3D-2849-A44D-B460-812DA0F91F39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982766" y="2079524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47" name="Marcador de posición de imagen 3">
            <a:extLst>
              <a:ext uri="{FF2B5EF4-FFF2-40B4-BE49-F238E27FC236}">
                <a16:creationId xmlns:a16="http://schemas.microsoft.com/office/drawing/2014/main" xmlns="" id="{A3E9D49A-7FEB-CA48-A0DA-D7F0AD0B39D2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982766" y="3158310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48" name="Marcador de posición de imagen 3">
            <a:extLst>
              <a:ext uri="{FF2B5EF4-FFF2-40B4-BE49-F238E27FC236}">
                <a16:creationId xmlns:a16="http://schemas.microsoft.com/office/drawing/2014/main" xmlns="" id="{21F56DF0-CFA8-3E4A-A473-7B4F791BB3B2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982766" y="4247371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49" name="Marcador de posición de imagen 3">
            <a:extLst>
              <a:ext uri="{FF2B5EF4-FFF2-40B4-BE49-F238E27FC236}">
                <a16:creationId xmlns:a16="http://schemas.microsoft.com/office/drawing/2014/main" xmlns="" id="{967F9466-8202-8F4B-94E1-63B831183C4E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969975" y="5336432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25" name="Marcador de número de diapositiva 1">
            <a:extLst>
              <a:ext uri="{FF2B5EF4-FFF2-40B4-BE49-F238E27FC236}">
                <a16:creationId xmlns:a16="http://schemas.microsoft.com/office/drawing/2014/main" xmlns="" id="{CAFA77C0-C295-3D4D-88B5-DE00CB583A44}"/>
              </a:ext>
            </a:extLst>
          </p:cNvPr>
          <p:cNvSpPr>
            <a:spLocks noGrp="1"/>
          </p:cNvSpPr>
          <p:nvPr>
            <p:ph type="sldNum" sz="quarter" idx="53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000" dirty="0"/>
          </a:p>
        </p:txBody>
      </p:sp>
      <p:sp>
        <p:nvSpPr>
          <p:cNvPr id="23" name="Marcador de texto 7">
            <a:extLst>
              <a:ext uri="{FF2B5EF4-FFF2-40B4-BE49-F238E27FC236}">
                <a16:creationId xmlns:a16="http://schemas.microsoft.com/office/drawing/2014/main" xmlns="" id="{ABA5F40A-3B8B-424C-BB2D-DB2FE8043FF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27" name="Conector recto 26">
            <a:extLst>
              <a:ext uri="{FF2B5EF4-FFF2-40B4-BE49-F238E27FC236}">
                <a16:creationId xmlns:a16="http://schemas.microsoft.com/office/drawing/2014/main" xmlns="" id="{F00B6F94-336F-6C45-B09A-2B54444109B5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9" name="Marcador de texto 7">
            <a:extLst>
              <a:ext uri="{FF2B5EF4-FFF2-40B4-BE49-F238E27FC236}">
                <a16:creationId xmlns:a16="http://schemas.microsoft.com/office/drawing/2014/main" xmlns="" id="{BB17032C-0F93-3144-A7BD-E7670DF717A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422441358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586" userDrawn="1">
          <p15:clr>
            <a:srgbClr val="FBAE40"/>
          </p15:clr>
        </p15:guide>
        <p15:guide id="2" pos="213" userDrawn="1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enumeración 3 +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43" name="Marcador de texto 7">
            <a:extLst>
              <a:ext uri="{FF2B5EF4-FFF2-40B4-BE49-F238E27FC236}">
                <a16:creationId xmlns:a16="http://schemas.microsoft.com/office/drawing/2014/main" xmlns="" id="{CF985600-E7D8-9E44-82E9-F97AD68006A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05710" y="1667640"/>
            <a:ext cx="3615285" cy="758780"/>
          </a:xfrm>
          <a:prstGeom prst="rect">
            <a:avLst/>
          </a:prstGeom>
        </p:spPr>
        <p:txBody>
          <a:bodyPr/>
          <a:lstStyle>
            <a:lvl1pPr marL="171257" indent="-171257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Wingdings" pitchFamily="2" charset="2"/>
              <a:buChar char="§"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</a:p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44" name="Marcador de texto 7">
            <a:extLst>
              <a:ext uri="{FF2B5EF4-FFF2-40B4-BE49-F238E27FC236}">
                <a16:creationId xmlns:a16="http://schemas.microsoft.com/office/drawing/2014/main" xmlns="" id="{06EBF3F5-82CF-3447-9CBB-BB0F933A65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29068" y="1840571"/>
            <a:ext cx="1257464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90" name="Conector recto 89">
            <a:extLst>
              <a:ext uri="{FF2B5EF4-FFF2-40B4-BE49-F238E27FC236}">
                <a16:creationId xmlns:a16="http://schemas.microsoft.com/office/drawing/2014/main" xmlns="" id="{918C4B25-4DE6-4C44-8031-9999A5B2D42B}"/>
              </a:ext>
            </a:extLst>
          </p:cNvPr>
          <p:cNvCxnSpPr/>
          <p:nvPr userDrawn="1"/>
        </p:nvCxnSpPr>
        <p:spPr>
          <a:xfrm>
            <a:off x="3600092" y="1622497"/>
            <a:ext cx="0" cy="849066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94" name="Marcador de texto 7">
            <a:extLst>
              <a:ext uri="{FF2B5EF4-FFF2-40B4-BE49-F238E27FC236}">
                <a16:creationId xmlns:a16="http://schemas.microsoft.com/office/drawing/2014/main" xmlns="" id="{E88A7927-DC3B-3544-BD64-28D716E9EF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05706" y="2877805"/>
            <a:ext cx="3611270" cy="758780"/>
          </a:xfrm>
          <a:prstGeom prst="rect">
            <a:avLst/>
          </a:prstGeom>
        </p:spPr>
        <p:txBody>
          <a:bodyPr/>
          <a:lstStyle>
            <a:lvl1pPr marL="171257" indent="-171257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Wingdings" pitchFamily="2" charset="2"/>
              <a:buChar char="§"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</a:p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95" name="Marcador de texto 7">
            <a:extLst>
              <a:ext uri="{FF2B5EF4-FFF2-40B4-BE49-F238E27FC236}">
                <a16:creationId xmlns:a16="http://schemas.microsoft.com/office/drawing/2014/main" xmlns="" id="{F1AE937D-E749-AB49-A58B-96D93517F82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29068" y="3050735"/>
            <a:ext cx="1257464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96" name="Conector recto 95">
            <a:extLst>
              <a:ext uri="{FF2B5EF4-FFF2-40B4-BE49-F238E27FC236}">
                <a16:creationId xmlns:a16="http://schemas.microsoft.com/office/drawing/2014/main" xmlns="" id="{82B8DDEA-E931-994F-86BA-42BAB21F35DB}"/>
              </a:ext>
            </a:extLst>
          </p:cNvPr>
          <p:cNvCxnSpPr/>
          <p:nvPr userDrawn="1"/>
        </p:nvCxnSpPr>
        <p:spPr>
          <a:xfrm>
            <a:off x="3600092" y="2836621"/>
            <a:ext cx="0" cy="849066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0" name="Marcador de texto 7">
            <a:extLst>
              <a:ext uri="{FF2B5EF4-FFF2-40B4-BE49-F238E27FC236}">
                <a16:creationId xmlns:a16="http://schemas.microsoft.com/office/drawing/2014/main" xmlns="" id="{32B82F2E-C60E-4F49-9E04-817DE4A46A4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05706" y="4087968"/>
            <a:ext cx="3611270" cy="758780"/>
          </a:xfrm>
          <a:prstGeom prst="rect">
            <a:avLst/>
          </a:prstGeom>
        </p:spPr>
        <p:txBody>
          <a:bodyPr/>
          <a:lstStyle>
            <a:lvl1pPr marL="171257" indent="-171257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Wingdings" pitchFamily="2" charset="2"/>
              <a:buChar char="§"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</a:p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101" name="Marcador de texto 7">
            <a:extLst>
              <a:ext uri="{FF2B5EF4-FFF2-40B4-BE49-F238E27FC236}">
                <a16:creationId xmlns:a16="http://schemas.microsoft.com/office/drawing/2014/main" xmlns="" id="{53ACC097-9A1C-3241-80E5-4FA2DBCD5E9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929068" y="4260899"/>
            <a:ext cx="1257464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102" name="Conector recto 101">
            <a:extLst>
              <a:ext uri="{FF2B5EF4-FFF2-40B4-BE49-F238E27FC236}">
                <a16:creationId xmlns:a16="http://schemas.microsoft.com/office/drawing/2014/main" xmlns="" id="{25F53A69-89D3-734D-9B06-56318A2B5E6E}"/>
              </a:ext>
            </a:extLst>
          </p:cNvPr>
          <p:cNvCxnSpPr/>
          <p:nvPr userDrawn="1"/>
        </p:nvCxnSpPr>
        <p:spPr>
          <a:xfrm>
            <a:off x="3600092" y="4050743"/>
            <a:ext cx="0" cy="849066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6" name="Marcador de texto 7">
            <a:extLst>
              <a:ext uri="{FF2B5EF4-FFF2-40B4-BE49-F238E27FC236}">
                <a16:creationId xmlns:a16="http://schemas.microsoft.com/office/drawing/2014/main" xmlns="" id="{E5228B0D-DF98-794A-B213-566DD6D0005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05710" y="5298133"/>
            <a:ext cx="3615281" cy="758780"/>
          </a:xfrm>
          <a:prstGeom prst="rect">
            <a:avLst/>
          </a:prstGeom>
        </p:spPr>
        <p:txBody>
          <a:bodyPr/>
          <a:lstStyle>
            <a:lvl1pPr marL="171257" indent="-171257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Wingdings" pitchFamily="2" charset="2"/>
              <a:buChar char="§"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</a:p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107" name="Marcador de texto 7">
            <a:extLst>
              <a:ext uri="{FF2B5EF4-FFF2-40B4-BE49-F238E27FC236}">
                <a16:creationId xmlns:a16="http://schemas.microsoft.com/office/drawing/2014/main" xmlns="" id="{12AA98F3-ECF0-0846-98CE-48B524FC174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929068" y="5471064"/>
            <a:ext cx="1257464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108" name="Conector recto 107">
            <a:extLst>
              <a:ext uri="{FF2B5EF4-FFF2-40B4-BE49-F238E27FC236}">
                <a16:creationId xmlns:a16="http://schemas.microsoft.com/office/drawing/2014/main" xmlns="" id="{A420EF3B-A9EA-F74A-AFB4-B01AC7830323}"/>
              </a:ext>
            </a:extLst>
          </p:cNvPr>
          <p:cNvCxnSpPr/>
          <p:nvPr userDrawn="1"/>
        </p:nvCxnSpPr>
        <p:spPr>
          <a:xfrm>
            <a:off x="3600092" y="5264867"/>
            <a:ext cx="0" cy="849066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6" name="Marcador de posición de imagen 2">
            <a:extLst>
              <a:ext uri="{FF2B5EF4-FFF2-40B4-BE49-F238E27FC236}">
                <a16:creationId xmlns:a16="http://schemas.microsoft.com/office/drawing/2014/main" xmlns="" id="{8FCD531C-778A-2E4A-9ABA-A34D4648680B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8405323" y="1667640"/>
            <a:ext cx="3323864" cy="2127802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1200">
                <a:solidFill>
                  <a:schemeClr val="accent3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39" name="Marcador de posición de imagen 2">
            <a:extLst>
              <a:ext uri="{FF2B5EF4-FFF2-40B4-BE49-F238E27FC236}">
                <a16:creationId xmlns:a16="http://schemas.microsoft.com/office/drawing/2014/main" xmlns="" id="{E1719074-B64D-B840-B12F-779CE3A91C3A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405323" y="3930697"/>
            <a:ext cx="3323864" cy="2127802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1200">
                <a:solidFill>
                  <a:schemeClr val="accent3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45" name="Marcador de posición de imagen 3">
            <a:extLst>
              <a:ext uri="{FF2B5EF4-FFF2-40B4-BE49-F238E27FC236}">
                <a16:creationId xmlns:a16="http://schemas.microsoft.com/office/drawing/2014/main" xmlns="" id="{BF352FCF-2840-F641-B261-0E6B39E92845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804618" y="1723883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49" name="Marcador de posición de imagen 3">
            <a:extLst>
              <a:ext uri="{FF2B5EF4-FFF2-40B4-BE49-F238E27FC236}">
                <a16:creationId xmlns:a16="http://schemas.microsoft.com/office/drawing/2014/main" xmlns="" id="{FC5D998E-8878-364C-B535-4672C2DA176D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804618" y="2931491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50" name="Marcador de posición de imagen 3">
            <a:extLst>
              <a:ext uri="{FF2B5EF4-FFF2-40B4-BE49-F238E27FC236}">
                <a16:creationId xmlns:a16="http://schemas.microsoft.com/office/drawing/2014/main" xmlns="" id="{7BE1B078-7F8B-5649-8CC2-046FD74D82BE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804618" y="4139099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51" name="Marcador de posición de imagen 3">
            <a:extLst>
              <a:ext uri="{FF2B5EF4-FFF2-40B4-BE49-F238E27FC236}">
                <a16:creationId xmlns:a16="http://schemas.microsoft.com/office/drawing/2014/main" xmlns="" id="{7C49BCC0-4D4D-EB4A-8268-F60F518F5523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804618" y="5346707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27" name="Marcador de número de diapositiva 1">
            <a:extLst>
              <a:ext uri="{FF2B5EF4-FFF2-40B4-BE49-F238E27FC236}">
                <a16:creationId xmlns:a16="http://schemas.microsoft.com/office/drawing/2014/main" xmlns="" id="{16214E9B-558A-2D4A-9C33-FF08516D28F6}"/>
              </a:ext>
            </a:extLst>
          </p:cNvPr>
          <p:cNvSpPr>
            <a:spLocks noGrp="1"/>
          </p:cNvSpPr>
          <p:nvPr>
            <p:ph type="sldNum" sz="quarter" idx="53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000" dirty="0"/>
          </a:p>
        </p:txBody>
      </p:sp>
      <p:sp>
        <p:nvSpPr>
          <p:cNvPr id="25" name="Marcador de texto 7">
            <a:extLst>
              <a:ext uri="{FF2B5EF4-FFF2-40B4-BE49-F238E27FC236}">
                <a16:creationId xmlns:a16="http://schemas.microsoft.com/office/drawing/2014/main" xmlns="" id="{DB616B56-1C98-BE46-90F9-A7ECD693AE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30" name="Conector recto 29">
            <a:extLst>
              <a:ext uri="{FF2B5EF4-FFF2-40B4-BE49-F238E27FC236}">
                <a16:creationId xmlns:a16="http://schemas.microsoft.com/office/drawing/2014/main" xmlns="" id="{8083ABBE-7E08-4446-9B1A-B775BB2E3036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1" name="Marcador de texto 7">
            <a:extLst>
              <a:ext uri="{FF2B5EF4-FFF2-40B4-BE49-F238E27FC236}">
                <a16:creationId xmlns:a16="http://schemas.microsoft.com/office/drawing/2014/main" xmlns="" id="{C48A1F36-466C-1043-87C1-B756E529750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67323387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586" userDrawn="1">
          <p15:clr>
            <a:srgbClr val="FBAE40"/>
          </p15:clr>
        </p15:guide>
        <p15:guide id="3" pos="919" userDrawn="1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solo ícon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44" name="Marcador de texto 7">
            <a:extLst>
              <a:ext uri="{FF2B5EF4-FFF2-40B4-BE49-F238E27FC236}">
                <a16:creationId xmlns:a16="http://schemas.microsoft.com/office/drawing/2014/main" xmlns="" id="{06EBF3F5-82CF-3447-9CBB-BB0F933A65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386" y="2965399"/>
            <a:ext cx="1482446" cy="635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78" name="Marcador de texto 7">
            <a:extLst>
              <a:ext uri="{FF2B5EF4-FFF2-40B4-BE49-F238E27FC236}">
                <a16:creationId xmlns:a16="http://schemas.microsoft.com/office/drawing/2014/main" xmlns="" id="{5FD5CE98-A125-7D47-90B3-6D68BF0AD1F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969294" y="2965399"/>
            <a:ext cx="1482446" cy="635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82" name="Marcador de texto 7">
            <a:extLst>
              <a:ext uri="{FF2B5EF4-FFF2-40B4-BE49-F238E27FC236}">
                <a16:creationId xmlns:a16="http://schemas.microsoft.com/office/drawing/2014/main" xmlns="" id="{BB03827E-9E73-F54D-91ED-F37E18DF6D6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18159" y="2965399"/>
            <a:ext cx="1482446" cy="635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86" name="Marcador de texto 7">
            <a:extLst>
              <a:ext uri="{FF2B5EF4-FFF2-40B4-BE49-F238E27FC236}">
                <a16:creationId xmlns:a16="http://schemas.microsoft.com/office/drawing/2014/main" xmlns="" id="{D3E3EFE6-6F4B-B54D-AF2C-EAD0435E5D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78898" y="2965399"/>
            <a:ext cx="1482446" cy="635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109" name="Marcador de texto 7">
            <a:extLst>
              <a:ext uri="{FF2B5EF4-FFF2-40B4-BE49-F238E27FC236}">
                <a16:creationId xmlns:a16="http://schemas.microsoft.com/office/drawing/2014/main" xmlns="" id="{991112FC-F65D-FA43-B1F6-7F488AE7795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63386" y="5074754"/>
            <a:ext cx="1482446" cy="635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113" name="Marcador de texto 7">
            <a:extLst>
              <a:ext uri="{FF2B5EF4-FFF2-40B4-BE49-F238E27FC236}">
                <a16:creationId xmlns:a16="http://schemas.microsoft.com/office/drawing/2014/main" xmlns="" id="{2595DA74-33F5-8E48-A29B-0384767D566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969294" y="5074754"/>
            <a:ext cx="1482446" cy="635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117" name="Marcador de texto 7">
            <a:extLst>
              <a:ext uri="{FF2B5EF4-FFF2-40B4-BE49-F238E27FC236}">
                <a16:creationId xmlns:a16="http://schemas.microsoft.com/office/drawing/2014/main" xmlns="" id="{B9DD7AC7-E6A2-1A49-8E09-B1BBD971806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18159" y="5074754"/>
            <a:ext cx="1482446" cy="635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121" name="Marcador de texto 7">
            <a:extLst>
              <a:ext uri="{FF2B5EF4-FFF2-40B4-BE49-F238E27FC236}">
                <a16:creationId xmlns:a16="http://schemas.microsoft.com/office/drawing/2014/main" xmlns="" id="{57427875-4083-0746-9C0D-BFCA937A310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278898" y="5074754"/>
            <a:ext cx="1482446" cy="635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54" name="Marcador de posición de imagen 3">
            <a:extLst>
              <a:ext uri="{FF2B5EF4-FFF2-40B4-BE49-F238E27FC236}">
                <a16:creationId xmlns:a16="http://schemas.microsoft.com/office/drawing/2014/main" xmlns="" id="{EE3102D7-7297-9344-91F2-85FF3C368DD3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463387" y="4209286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55" name="Marcador de posición de imagen 3">
            <a:extLst>
              <a:ext uri="{FF2B5EF4-FFF2-40B4-BE49-F238E27FC236}">
                <a16:creationId xmlns:a16="http://schemas.microsoft.com/office/drawing/2014/main" xmlns="" id="{9FBDFC9B-7C8B-DC45-B9F9-55498656D1B0}"/>
              </a:ext>
            </a:extLst>
          </p:cNvPr>
          <p:cNvSpPr>
            <a:spLocks noGrp="1"/>
          </p:cNvSpPr>
          <p:nvPr>
            <p:ph type="pic" sz="quarter" idx="54" hasCustomPrompt="1"/>
          </p:nvPr>
        </p:nvSpPr>
        <p:spPr>
          <a:xfrm>
            <a:off x="3278899" y="4209286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56" name="Marcador de posición de imagen 3">
            <a:extLst>
              <a:ext uri="{FF2B5EF4-FFF2-40B4-BE49-F238E27FC236}">
                <a16:creationId xmlns:a16="http://schemas.microsoft.com/office/drawing/2014/main" xmlns="" id="{559CBD6C-2DC7-224F-B729-9E291911C669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6118155" y="4209286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57" name="Marcador de posición de imagen 3">
            <a:extLst>
              <a:ext uri="{FF2B5EF4-FFF2-40B4-BE49-F238E27FC236}">
                <a16:creationId xmlns:a16="http://schemas.microsoft.com/office/drawing/2014/main" xmlns="" id="{073AEE27-09DF-6543-BB4D-7D5DFB1B4B3D}"/>
              </a:ext>
            </a:extLst>
          </p:cNvPr>
          <p:cNvSpPr>
            <a:spLocks noGrp="1"/>
          </p:cNvSpPr>
          <p:nvPr>
            <p:ph type="pic" sz="quarter" idx="56" hasCustomPrompt="1"/>
          </p:nvPr>
        </p:nvSpPr>
        <p:spPr>
          <a:xfrm>
            <a:off x="8969291" y="4209286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58" name="Marcador de posición de imagen 3">
            <a:extLst>
              <a:ext uri="{FF2B5EF4-FFF2-40B4-BE49-F238E27FC236}">
                <a16:creationId xmlns:a16="http://schemas.microsoft.com/office/drawing/2014/main" xmlns="" id="{70515F09-3022-7248-97FD-AF60E7A637A3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3278899" y="2103084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59" name="Marcador de posición de imagen 3">
            <a:extLst>
              <a:ext uri="{FF2B5EF4-FFF2-40B4-BE49-F238E27FC236}">
                <a16:creationId xmlns:a16="http://schemas.microsoft.com/office/drawing/2014/main" xmlns="" id="{E7CAD503-A102-B44B-9C6B-B30F3C55AFE9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6118155" y="2103084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60" name="Marcador de posición de imagen 3">
            <a:extLst>
              <a:ext uri="{FF2B5EF4-FFF2-40B4-BE49-F238E27FC236}">
                <a16:creationId xmlns:a16="http://schemas.microsoft.com/office/drawing/2014/main" xmlns="" id="{B55D27B1-5A3C-974C-BE65-F74B63816EF2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8969291" y="2103084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61" name="Marcador de posición de imagen 3">
            <a:extLst>
              <a:ext uri="{FF2B5EF4-FFF2-40B4-BE49-F238E27FC236}">
                <a16:creationId xmlns:a16="http://schemas.microsoft.com/office/drawing/2014/main" xmlns="" id="{537522F4-CAC5-624A-9444-E535A83A84B1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463387" y="2103084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25" name="Marcador de número de diapositiva 1">
            <a:extLst>
              <a:ext uri="{FF2B5EF4-FFF2-40B4-BE49-F238E27FC236}">
                <a16:creationId xmlns:a16="http://schemas.microsoft.com/office/drawing/2014/main" xmlns="" id="{A6AECD0F-9426-464D-BB7E-B8E60D81534C}"/>
              </a:ext>
            </a:extLst>
          </p:cNvPr>
          <p:cNvSpPr>
            <a:spLocks noGrp="1"/>
          </p:cNvSpPr>
          <p:nvPr>
            <p:ph type="sldNum" sz="quarter" idx="57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000" dirty="0"/>
          </a:p>
        </p:txBody>
      </p:sp>
      <p:sp>
        <p:nvSpPr>
          <p:cNvPr id="23" name="Marcador de texto 7">
            <a:extLst>
              <a:ext uri="{FF2B5EF4-FFF2-40B4-BE49-F238E27FC236}">
                <a16:creationId xmlns:a16="http://schemas.microsoft.com/office/drawing/2014/main" xmlns="" id="{9B217198-0325-2343-8826-2BB07C45F3E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28" name="Conector recto 27">
            <a:extLst>
              <a:ext uri="{FF2B5EF4-FFF2-40B4-BE49-F238E27FC236}">
                <a16:creationId xmlns:a16="http://schemas.microsoft.com/office/drawing/2014/main" xmlns="" id="{DEFE2DED-0681-564C-B5DA-C9707DEC98D3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9" name="Marcador de texto 7">
            <a:extLst>
              <a:ext uri="{FF2B5EF4-FFF2-40B4-BE49-F238E27FC236}">
                <a16:creationId xmlns:a16="http://schemas.microsoft.com/office/drawing/2014/main" xmlns="" id="{85D0DB1A-42C3-6F4B-9095-3EDE2D6A3F6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414019333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586" userDrawn="1">
          <p15:clr>
            <a:srgbClr val="FBAE40"/>
          </p15:clr>
        </p15:guide>
        <p15:guide id="3" pos="4292" userDrawn="1">
          <p15:clr>
            <a:srgbClr val="FBAE40"/>
          </p15:clr>
        </p15:guide>
        <p15:guide id="4" pos="2926" userDrawn="1">
          <p15:clr>
            <a:srgbClr val="FBAE40"/>
          </p15:clr>
        </p15:guide>
        <p15:guide id="5" pos="1561" userDrawn="1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diagra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39" name="Conector recto 74">
            <a:extLst>
              <a:ext uri="{FF2B5EF4-FFF2-40B4-BE49-F238E27FC236}">
                <a16:creationId xmlns:a16="http://schemas.microsoft.com/office/drawing/2014/main" xmlns="" id="{2E83A0D3-D9D1-6D40-A776-3D97DAAA669E}"/>
              </a:ext>
            </a:extLst>
          </p:cNvPr>
          <p:cNvSpPr/>
          <p:nvPr userDrawn="1"/>
        </p:nvSpPr>
        <p:spPr>
          <a:xfrm flipH="1">
            <a:off x="2490404" y="4761361"/>
            <a:ext cx="2100482" cy="1"/>
          </a:xfrm>
          <a:prstGeom prst="line">
            <a:avLst/>
          </a:prstGeom>
          <a:solidFill>
            <a:srgbClr val="FFFFFF"/>
          </a:solidFill>
          <a:ln w="15875">
            <a:solidFill>
              <a:srgbClr val="34783B"/>
            </a:solidFill>
            <a:miter lim="400000"/>
          </a:ln>
        </p:spPr>
        <p:txBody>
          <a:bodyPr lIns="25372" tIns="25372" rIns="25372" bIns="25372" anchor="ctr"/>
          <a:lstStyle/>
          <a:p>
            <a:pPr algn="ctr" defTabSz="412281"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0" name="Imagen" descr="Imagen">
            <a:extLst>
              <a:ext uri="{FF2B5EF4-FFF2-40B4-BE49-F238E27FC236}">
                <a16:creationId xmlns:a16="http://schemas.microsoft.com/office/drawing/2014/main" xmlns="" id="{9779F4AF-5D4E-794B-A466-FB22A903A06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261764" y="1712995"/>
            <a:ext cx="7735494" cy="2581598"/>
          </a:xfrm>
          <a:prstGeom prst="rect">
            <a:avLst/>
          </a:prstGeom>
          <a:ln w="12700" cap="flat">
            <a:noFill/>
            <a:miter lim="400000"/>
          </a:ln>
          <a:effectLst/>
        </p:spPr>
      </p:pic>
      <p:sp>
        <p:nvSpPr>
          <p:cNvPr id="42" name="Círculo">
            <a:extLst>
              <a:ext uri="{FF2B5EF4-FFF2-40B4-BE49-F238E27FC236}">
                <a16:creationId xmlns:a16="http://schemas.microsoft.com/office/drawing/2014/main" xmlns="" id="{47C42AAE-D2EA-A84A-871A-0C47609DE7C1}"/>
              </a:ext>
            </a:extLst>
          </p:cNvPr>
          <p:cNvSpPr/>
          <p:nvPr userDrawn="1"/>
        </p:nvSpPr>
        <p:spPr>
          <a:xfrm>
            <a:off x="2077341" y="2797290"/>
            <a:ext cx="413060" cy="413006"/>
          </a:xfrm>
          <a:prstGeom prst="ellipse">
            <a:avLst/>
          </a:prstGeom>
          <a:solidFill>
            <a:srgbClr val="FFFFFF"/>
          </a:solidFill>
          <a:ln w="31750" cap="flat">
            <a:solidFill>
              <a:schemeClr val="tx1"/>
            </a:solidFill>
            <a:prstDash val="solid"/>
            <a:miter lim="400000"/>
          </a:ln>
          <a:effectLst/>
        </p:spPr>
        <p:txBody>
          <a:bodyPr wrap="square" lIns="25372" tIns="25372" rIns="25372" bIns="25372" numCol="1" anchor="ctr">
            <a:noAutofit/>
          </a:bodyPr>
          <a:lstStyle/>
          <a:p>
            <a:pPr algn="ctr" defTabSz="412281"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TextBox 3">
            <a:extLst>
              <a:ext uri="{FF2B5EF4-FFF2-40B4-BE49-F238E27FC236}">
                <a16:creationId xmlns:a16="http://schemas.microsoft.com/office/drawing/2014/main" xmlns="" id="{0FCA73FE-D49A-7545-825C-40B69769AC2B}"/>
              </a:ext>
            </a:extLst>
          </p:cNvPr>
          <p:cNvSpPr txBox="1"/>
          <p:nvPr userDrawn="1"/>
        </p:nvSpPr>
        <p:spPr>
          <a:xfrm>
            <a:off x="2186925" y="2856636"/>
            <a:ext cx="205405" cy="31162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numCol="1" anchor="t">
            <a:spAutoFit/>
          </a:bodyPr>
          <a:lstStyle>
            <a:lvl1pPr algn="ctr" defTabSz="1828800">
              <a:lnSpc>
                <a:spcPct val="110000"/>
              </a:lnSpc>
              <a:spcBef>
                <a:spcPts val="0"/>
              </a:spcBef>
              <a:defRPr sz="4000">
                <a:solidFill>
                  <a:srgbClr val="34783B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sz="1996" dirty="0"/>
              <a:t>1</a:t>
            </a:r>
          </a:p>
        </p:txBody>
      </p:sp>
      <p:sp>
        <p:nvSpPr>
          <p:cNvPr id="47" name="Círculo">
            <a:extLst>
              <a:ext uri="{FF2B5EF4-FFF2-40B4-BE49-F238E27FC236}">
                <a16:creationId xmlns:a16="http://schemas.microsoft.com/office/drawing/2014/main" xmlns="" id="{45ECB7D4-EDAE-FE48-9F43-04C457C03100}"/>
              </a:ext>
            </a:extLst>
          </p:cNvPr>
          <p:cNvSpPr/>
          <p:nvPr userDrawn="1"/>
        </p:nvSpPr>
        <p:spPr>
          <a:xfrm>
            <a:off x="7745563" y="3795582"/>
            <a:ext cx="413060" cy="413006"/>
          </a:xfrm>
          <a:prstGeom prst="ellipse">
            <a:avLst/>
          </a:prstGeom>
          <a:solidFill>
            <a:srgbClr val="FFFFFF"/>
          </a:solidFill>
          <a:ln w="31750" cap="flat">
            <a:solidFill>
              <a:srgbClr val="90BB3A"/>
            </a:solidFill>
            <a:prstDash val="solid"/>
            <a:miter lim="400000"/>
          </a:ln>
          <a:effectLst/>
        </p:spPr>
        <p:txBody>
          <a:bodyPr wrap="square" lIns="25372" tIns="25372" rIns="25372" bIns="25372" numCol="1" anchor="ctr">
            <a:noAutofit/>
          </a:bodyPr>
          <a:lstStyle/>
          <a:p>
            <a:pPr algn="ctr" defTabSz="412281"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TextBox 3">
            <a:extLst>
              <a:ext uri="{FF2B5EF4-FFF2-40B4-BE49-F238E27FC236}">
                <a16:creationId xmlns:a16="http://schemas.microsoft.com/office/drawing/2014/main" xmlns="" id="{ECA73037-CC25-994E-B9C4-3D9D5FEDFBCF}"/>
              </a:ext>
            </a:extLst>
          </p:cNvPr>
          <p:cNvSpPr txBox="1"/>
          <p:nvPr userDrawn="1"/>
        </p:nvSpPr>
        <p:spPr>
          <a:xfrm>
            <a:off x="7861270" y="3849402"/>
            <a:ext cx="205405" cy="311624"/>
          </a:xfrm>
          <a:prstGeom prst="rect">
            <a:avLst/>
          </a:prstGeom>
          <a:noFill/>
          <a:ln w="12700" cap="flat">
            <a:solidFill>
              <a:schemeClr val="bg1"/>
            </a:solidFill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numCol="1" anchor="t">
            <a:spAutoFit/>
          </a:bodyPr>
          <a:lstStyle>
            <a:lvl1pPr algn="ctr" defTabSz="1828800">
              <a:lnSpc>
                <a:spcPct val="110000"/>
              </a:lnSpc>
              <a:spcBef>
                <a:spcPts val="0"/>
              </a:spcBef>
              <a:defRPr sz="4000">
                <a:solidFill>
                  <a:srgbClr val="90BB3A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sz="1996" dirty="0"/>
              <a:t>3</a:t>
            </a:r>
          </a:p>
        </p:txBody>
      </p:sp>
      <p:sp>
        <p:nvSpPr>
          <p:cNvPr id="49" name="Círculo">
            <a:extLst>
              <a:ext uri="{FF2B5EF4-FFF2-40B4-BE49-F238E27FC236}">
                <a16:creationId xmlns:a16="http://schemas.microsoft.com/office/drawing/2014/main" xmlns="" id="{B91AEEFA-2801-0E4A-A557-935B69C160C0}"/>
              </a:ext>
            </a:extLst>
          </p:cNvPr>
          <p:cNvSpPr/>
          <p:nvPr userDrawn="1"/>
        </p:nvSpPr>
        <p:spPr>
          <a:xfrm>
            <a:off x="5152317" y="1773241"/>
            <a:ext cx="413060" cy="413006"/>
          </a:xfrm>
          <a:prstGeom prst="ellipse">
            <a:avLst/>
          </a:prstGeom>
          <a:solidFill>
            <a:srgbClr val="FFFFFF"/>
          </a:solidFill>
          <a:ln w="31750" cap="flat">
            <a:solidFill>
              <a:schemeClr val="tx2"/>
            </a:solidFill>
            <a:prstDash val="solid"/>
            <a:miter lim="400000"/>
          </a:ln>
          <a:effectLst/>
        </p:spPr>
        <p:txBody>
          <a:bodyPr wrap="square" lIns="25372" tIns="25372" rIns="25372" bIns="25372" numCol="1" anchor="ctr">
            <a:noAutofit/>
          </a:bodyPr>
          <a:lstStyle/>
          <a:p>
            <a:pPr algn="ctr" defTabSz="412281"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TextBox 3">
            <a:extLst>
              <a:ext uri="{FF2B5EF4-FFF2-40B4-BE49-F238E27FC236}">
                <a16:creationId xmlns:a16="http://schemas.microsoft.com/office/drawing/2014/main" xmlns="" id="{5CB1B3A6-600F-8646-AE4B-9007700B8084}"/>
              </a:ext>
            </a:extLst>
          </p:cNvPr>
          <p:cNvSpPr txBox="1"/>
          <p:nvPr userDrawn="1"/>
        </p:nvSpPr>
        <p:spPr>
          <a:xfrm>
            <a:off x="5259955" y="1832579"/>
            <a:ext cx="205405" cy="31162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numCol="1" anchor="t">
            <a:spAutoFit/>
          </a:bodyPr>
          <a:lstStyle>
            <a:lvl1pPr algn="ctr" defTabSz="1828800">
              <a:lnSpc>
                <a:spcPct val="110000"/>
              </a:lnSpc>
              <a:spcBef>
                <a:spcPts val="0"/>
              </a:spcBef>
              <a:defRPr sz="4000">
                <a:solidFill>
                  <a:srgbClr val="5E5E5E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sz="1996" dirty="0"/>
              <a:t>2</a:t>
            </a:r>
          </a:p>
        </p:txBody>
      </p:sp>
      <p:sp>
        <p:nvSpPr>
          <p:cNvPr id="51" name="Conector recto 74">
            <a:extLst>
              <a:ext uri="{FF2B5EF4-FFF2-40B4-BE49-F238E27FC236}">
                <a16:creationId xmlns:a16="http://schemas.microsoft.com/office/drawing/2014/main" xmlns="" id="{5581399F-60DC-C146-9774-D7BD814FB18C}"/>
              </a:ext>
            </a:extLst>
          </p:cNvPr>
          <p:cNvSpPr/>
          <p:nvPr userDrawn="1"/>
        </p:nvSpPr>
        <p:spPr>
          <a:xfrm flipH="1">
            <a:off x="5046557" y="4761361"/>
            <a:ext cx="2100482" cy="1"/>
          </a:xfrm>
          <a:prstGeom prst="line">
            <a:avLst/>
          </a:prstGeom>
          <a:solidFill>
            <a:srgbClr val="FFFFFF"/>
          </a:solidFill>
          <a:ln w="15875">
            <a:solidFill>
              <a:srgbClr val="5E5E5E"/>
            </a:solidFill>
            <a:miter lim="400000"/>
          </a:ln>
        </p:spPr>
        <p:txBody>
          <a:bodyPr lIns="25372" tIns="25372" rIns="25372" bIns="25372" anchor="ctr"/>
          <a:lstStyle/>
          <a:p>
            <a:pPr algn="ctr" defTabSz="412281"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Conector recto 74">
            <a:extLst>
              <a:ext uri="{FF2B5EF4-FFF2-40B4-BE49-F238E27FC236}">
                <a16:creationId xmlns:a16="http://schemas.microsoft.com/office/drawing/2014/main" xmlns="" id="{27D50CA8-0FE2-7645-830A-F4271EB0ED40}"/>
              </a:ext>
            </a:extLst>
          </p:cNvPr>
          <p:cNvSpPr/>
          <p:nvPr userDrawn="1"/>
        </p:nvSpPr>
        <p:spPr>
          <a:xfrm flipH="1">
            <a:off x="7627553" y="4761361"/>
            <a:ext cx="2100482" cy="1"/>
          </a:xfrm>
          <a:prstGeom prst="line">
            <a:avLst/>
          </a:prstGeom>
          <a:solidFill>
            <a:srgbClr val="FFFFFF"/>
          </a:solidFill>
          <a:ln w="15875">
            <a:solidFill>
              <a:srgbClr val="90BB3A"/>
            </a:solidFill>
            <a:miter lim="400000"/>
          </a:ln>
        </p:spPr>
        <p:txBody>
          <a:bodyPr lIns="25372" tIns="25372" rIns="25372" bIns="25372" anchor="ctr"/>
          <a:lstStyle/>
          <a:p>
            <a:pPr algn="ctr" defTabSz="412281"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Marcador de texto 7">
            <a:extLst>
              <a:ext uri="{FF2B5EF4-FFF2-40B4-BE49-F238E27FC236}">
                <a16:creationId xmlns:a16="http://schemas.microsoft.com/office/drawing/2014/main" xmlns="" id="{CB581C8C-78B0-CF47-B07E-37D4BD36572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490404" y="4999498"/>
            <a:ext cx="2100482" cy="758780"/>
          </a:xfrm>
          <a:prstGeom prst="rect">
            <a:avLst/>
          </a:prstGeom>
        </p:spPr>
        <p:txBody>
          <a:bodyPr/>
          <a:lstStyle>
            <a:lvl1pPr marL="171257" indent="-171257">
              <a:buClr>
                <a:schemeClr val="tx1"/>
              </a:buClr>
              <a:buSzPct val="80000"/>
              <a:buFont typeface="Wingdings" pitchFamily="2" charset="2"/>
              <a:buChar char="§"/>
              <a:defRPr sz="1600" b="0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58" name="Marcador de texto 7">
            <a:extLst>
              <a:ext uri="{FF2B5EF4-FFF2-40B4-BE49-F238E27FC236}">
                <a16:creationId xmlns:a16="http://schemas.microsoft.com/office/drawing/2014/main" xmlns="" id="{F6152E70-DB5D-FB46-AC42-E25D3884370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58979" y="4999498"/>
            <a:ext cx="2100482" cy="758780"/>
          </a:xfrm>
          <a:prstGeom prst="rect">
            <a:avLst/>
          </a:prstGeom>
        </p:spPr>
        <p:txBody>
          <a:bodyPr/>
          <a:lstStyle>
            <a:lvl1pPr marL="171257" indent="-171257">
              <a:buClr>
                <a:schemeClr val="tx2"/>
              </a:buClr>
              <a:buSzPct val="80000"/>
              <a:buFont typeface="Wingdings" pitchFamily="2" charset="2"/>
              <a:buChar char="§"/>
              <a:defRPr sz="16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59" name="Marcador de texto 7">
            <a:extLst>
              <a:ext uri="{FF2B5EF4-FFF2-40B4-BE49-F238E27FC236}">
                <a16:creationId xmlns:a16="http://schemas.microsoft.com/office/drawing/2014/main" xmlns="" id="{97E32544-5D63-C045-A2C9-208A3A350E2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27553" y="4999498"/>
            <a:ext cx="2100482" cy="758780"/>
          </a:xfrm>
          <a:prstGeom prst="rect">
            <a:avLst/>
          </a:prstGeom>
        </p:spPr>
        <p:txBody>
          <a:bodyPr/>
          <a:lstStyle>
            <a:lvl1pPr marL="171257" indent="-171257">
              <a:buClr>
                <a:schemeClr val="bg2"/>
              </a:buClr>
              <a:buSzPct val="80000"/>
              <a:buFont typeface="Wingdings" pitchFamily="2" charset="2"/>
              <a:buChar char="§"/>
              <a:defRPr sz="1600" b="0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25" name="Marcador de número de diapositiva 1">
            <a:extLst>
              <a:ext uri="{FF2B5EF4-FFF2-40B4-BE49-F238E27FC236}">
                <a16:creationId xmlns:a16="http://schemas.microsoft.com/office/drawing/2014/main" xmlns="" id="{BD2892FD-8B11-D94E-92D6-35A1466F2AC1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000" dirty="0"/>
          </a:p>
        </p:txBody>
      </p:sp>
      <p:sp>
        <p:nvSpPr>
          <p:cNvPr id="23" name="Marcador de texto 7">
            <a:extLst>
              <a:ext uri="{FF2B5EF4-FFF2-40B4-BE49-F238E27FC236}">
                <a16:creationId xmlns:a16="http://schemas.microsoft.com/office/drawing/2014/main" xmlns="" id="{4D8C07C6-F038-574C-9447-EE5D23F2AED9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2490404" y="2789699"/>
            <a:ext cx="2100482" cy="758780"/>
          </a:xfrm>
          <a:prstGeom prst="rect">
            <a:avLst/>
          </a:prstGeom>
        </p:spPr>
        <p:txBody>
          <a:bodyPr/>
          <a:lstStyle>
            <a:lvl1pPr marL="171257" indent="-171257" algn="ctr">
              <a:buClr>
                <a:schemeClr val="tx1"/>
              </a:buClr>
              <a:buSzPct val="80000"/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26" name="Marcador de texto 7">
            <a:extLst>
              <a:ext uri="{FF2B5EF4-FFF2-40B4-BE49-F238E27FC236}">
                <a16:creationId xmlns:a16="http://schemas.microsoft.com/office/drawing/2014/main" xmlns="" id="{078480EC-C091-BE4F-BA1A-99D711D37C60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5058979" y="2789699"/>
            <a:ext cx="2100482" cy="758780"/>
          </a:xfrm>
          <a:prstGeom prst="rect">
            <a:avLst/>
          </a:prstGeom>
        </p:spPr>
        <p:txBody>
          <a:bodyPr/>
          <a:lstStyle>
            <a:lvl1pPr marL="171257" indent="-171257" algn="ctr">
              <a:buClr>
                <a:schemeClr val="tx2"/>
              </a:buClr>
              <a:buSzPct val="80000"/>
              <a:buFontTx/>
              <a:buNone/>
              <a:defRPr sz="1600" b="1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27" name="Marcador de texto 7">
            <a:extLst>
              <a:ext uri="{FF2B5EF4-FFF2-40B4-BE49-F238E27FC236}">
                <a16:creationId xmlns:a16="http://schemas.microsoft.com/office/drawing/2014/main" xmlns="" id="{A2A206CD-450F-6D4C-9ED9-D8B8580AA5FC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627553" y="2789699"/>
            <a:ext cx="2100482" cy="758780"/>
          </a:xfrm>
          <a:prstGeom prst="rect">
            <a:avLst/>
          </a:prstGeom>
        </p:spPr>
        <p:txBody>
          <a:bodyPr/>
          <a:lstStyle>
            <a:lvl1pPr marL="171257" indent="-171257" algn="ctr">
              <a:buClr>
                <a:schemeClr val="bg2"/>
              </a:buClr>
              <a:buSzPct val="80000"/>
              <a:buFontTx/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28" name="Marcador de texto 7">
            <a:extLst>
              <a:ext uri="{FF2B5EF4-FFF2-40B4-BE49-F238E27FC236}">
                <a16:creationId xmlns:a16="http://schemas.microsoft.com/office/drawing/2014/main" xmlns="" id="{E4807BBE-DF36-9645-BE4E-3486868EFED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31" name="Conector recto 30">
            <a:extLst>
              <a:ext uri="{FF2B5EF4-FFF2-40B4-BE49-F238E27FC236}">
                <a16:creationId xmlns:a16="http://schemas.microsoft.com/office/drawing/2014/main" xmlns="" id="{3C1110E9-A7AE-874A-A8A4-0C61FCC549FC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2" name="Marcador de texto 7">
            <a:extLst>
              <a:ext uri="{FF2B5EF4-FFF2-40B4-BE49-F238E27FC236}">
                <a16:creationId xmlns:a16="http://schemas.microsoft.com/office/drawing/2014/main" xmlns="" id="{CE8087DE-913C-CE43-A9AD-19E1C79C5C3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47954196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213" userDrawn="1">
          <p15:clr>
            <a:srgbClr val="FBAE40"/>
          </p15:clr>
        </p15:guide>
        <p15:guide id="3" pos="919" userDrawn="1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notic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Imagen 38">
            <a:extLst>
              <a:ext uri="{FF2B5EF4-FFF2-40B4-BE49-F238E27FC236}">
                <a16:creationId xmlns:a16="http://schemas.microsoft.com/office/drawing/2014/main" xmlns="" id="{A18F745A-2F94-7047-844D-CB79FE04F50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43" name="Rectángulo">
            <a:extLst>
              <a:ext uri="{FF2B5EF4-FFF2-40B4-BE49-F238E27FC236}">
                <a16:creationId xmlns:a16="http://schemas.microsoft.com/office/drawing/2014/main" xmlns="" id="{42316AC7-064E-6646-A5F4-425D51B6A2C9}"/>
              </a:ext>
            </a:extLst>
          </p:cNvPr>
          <p:cNvSpPr/>
          <p:nvPr userDrawn="1"/>
        </p:nvSpPr>
        <p:spPr>
          <a:xfrm>
            <a:off x="430847" y="3429000"/>
            <a:ext cx="2736414" cy="34301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>
            <a:noFill/>
            <a:miter lim="400000"/>
          </a:ln>
        </p:spPr>
        <p:txBody>
          <a:bodyPr lIns="25372" tIns="25372" rIns="25372" bIns="25372" anchor="ctr"/>
          <a:lstStyle/>
          <a:p>
            <a:pPr algn="ctr" defTabSz="912570">
              <a:defRPr sz="3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200" dirty="0"/>
          </a:p>
        </p:txBody>
      </p:sp>
      <p:sp>
        <p:nvSpPr>
          <p:cNvPr id="65" name="Marcador de texto 7">
            <a:extLst>
              <a:ext uri="{FF2B5EF4-FFF2-40B4-BE49-F238E27FC236}">
                <a16:creationId xmlns:a16="http://schemas.microsoft.com/office/drawing/2014/main" xmlns="" id="{6BF8A88C-2650-B342-AC6A-0910D46C631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7553" y="5036560"/>
            <a:ext cx="2186603" cy="15397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explicativo </a:t>
            </a:r>
          </a:p>
          <a:p>
            <a:pPr lvl="0"/>
            <a:r>
              <a:rPr lang="es-ES" dirty="0"/>
              <a:t>Arial Bold 16</a:t>
            </a:r>
            <a:endParaRPr lang="es-CL" dirty="0"/>
          </a:p>
        </p:txBody>
      </p:sp>
      <p:sp>
        <p:nvSpPr>
          <p:cNvPr id="66" name="Marcador de texto 7">
            <a:extLst>
              <a:ext uri="{FF2B5EF4-FFF2-40B4-BE49-F238E27FC236}">
                <a16:creationId xmlns:a16="http://schemas.microsoft.com/office/drawing/2014/main" xmlns="" id="{8FBF1655-AF76-F945-B38F-FE31E3035DB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7549" y="3947663"/>
            <a:ext cx="1257464" cy="51185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996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67" name="Marcador de texto 7">
            <a:extLst>
              <a:ext uri="{FF2B5EF4-FFF2-40B4-BE49-F238E27FC236}">
                <a16:creationId xmlns:a16="http://schemas.microsoft.com/office/drawing/2014/main" xmlns="" id="{D09FBF73-0F86-334D-A640-40FA6422E5D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7551" y="4506531"/>
            <a:ext cx="1339726" cy="25250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68" name="Rectángulo">
            <a:extLst>
              <a:ext uri="{FF2B5EF4-FFF2-40B4-BE49-F238E27FC236}">
                <a16:creationId xmlns:a16="http://schemas.microsoft.com/office/drawing/2014/main" xmlns="" id="{276E5EE1-B3E1-3F4B-83B9-25BBCDB7164A}"/>
              </a:ext>
            </a:extLst>
          </p:cNvPr>
          <p:cNvSpPr/>
          <p:nvPr userDrawn="1"/>
        </p:nvSpPr>
        <p:spPr>
          <a:xfrm>
            <a:off x="3285258" y="2606955"/>
            <a:ext cx="2736414" cy="4251053"/>
          </a:xfrm>
          <a:prstGeom prst="rect">
            <a:avLst/>
          </a:prstGeom>
          <a:solidFill>
            <a:schemeClr val="bg2"/>
          </a:solidFill>
          <a:ln w="12700">
            <a:noFill/>
            <a:miter lim="400000"/>
          </a:ln>
        </p:spPr>
        <p:txBody>
          <a:bodyPr lIns="25372" tIns="25372" rIns="25372" bIns="25372" anchor="ctr"/>
          <a:lstStyle/>
          <a:p>
            <a:pPr algn="ctr" defTabSz="912570">
              <a:defRPr sz="3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3596" dirty="0"/>
          </a:p>
        </p:txBody>
      </p:sp>
      <p:sp>
        <p:nvSpPr>
          <p:cNvPr id="69" name="Marcador de texto 7">
            <a:extLst>
              <a:ext uri="{FF2B5EF4-FFF2-40B4-BE49-F238E27FC236}">
                <a16:creationId xmlns:a16="http://schemas.microsoft.com/office/drawing/2014/main" xmlns="" id="{8DAFB3E8-F17D-0145-B3D7-D9F9A58CEAC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44641" y="4215680"/>
            <a:ext cx="2186603" cy="15397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explicativo</a:t>
            </a:r>
          </a:p>
          <a:p>
            <a:pPr lvl="0"/>
            <a:r>
              <a:rPr lang="es-ES" dirty="0"/>
              <a:t>Arial Bold 16</a:t>
            </a:r>
            <a:endParaRPr lang="es-CL" dirty="0"/>
          </a:p>
        </p:txBody>
      </p:sp>
      <p:sp>
        <p:nvSpPr>
          <p:cNvPr id="70" name="Marcador de texto 7">
            <a:extLst>
              <a:ext uri="{FF2B5EF4-FFF2-40B4-BE49-F238E27FC236}">
                <a16:creationId xmlns:a16="http://schemas.microsoft.com/office/drawing/2014/main" xmlns="" id="{69AEA284-6214-104E-8E27-8BB480AF74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44637" y="3126783"/>
            <a:ext cx="1257464" cy="51185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996" b="0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71" name="Marcador de texto 7">
            <a:extLst>
              <a:ext uri="{FF2B5EF4-FFF2-40B4-BE49-F238E27FC236}">
                <a16:creationId xmlns:a16="http://schemas.microsoft.com/office/drawing/2014/main" xmlns="" id="{38C79E41-A17D-4B48-8B91-1215DC2A1A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44642" y="3685650"/>
            <a:ext cx="1339726" cy="25250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72" name="Rectángulo">
            <a:extLst>
              <a:ext uri="{FF2B5EF4-FFF2-40B4-BE49-F238E27FC236}">
                <a16:creationId xmlns:a16="http://schemas.microsoft.com/office/drawing/2014/main" xmlns="" id="{34114B99-D22D-E64B-9FCB-2F541FEA6055}"/>
              </a:ext>
            </a:extLst>
          </p:cNvPr>
          <p:cNvSpPr/>
          <p:nvPr userDrawn="1"/>
        </p:nvSpPr>
        <p:spPr>
          <a:xfrm>
            <a:off x="6139666" y="3427828"/>
            <a:ext cx="2736414" cy="34301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>
            <a:noFill/>
            <a:miter lim="400000"/>
          </a:ln>
        </p:spPr>
        <p:txBody>
          <a:bodyPr lIns="25372" tIns="25372" rIns="25372" bIns="25372" anchor="ctr"/>
          <a:lstStyle/>
          <a:p>
            <a:pPr algn="ctr" defTabSz="912570">
              <a:defRPr sz="3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3596" dirty="0"/>
          </a:p>
        </p:txBody>
      </p:sp>
      <p:sp>
        <p:nvSpPr>
          <p:cNvPr id="73" name="Marcador de texto 7">
            <a:extLst>
              <a:ext uri="{FF2B5EF4-FFF2-40B4-BE49-F238E27FC236}">
                <a16:creationId xmlns:a16="http://schemas.microsoft.com/office/drawing/2014/main" xmlns="" id="{E6767AED-37F8-A841-8040-0EEB3BC4FFD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412902" y="5036560"/>
            <a:ext cx="2186603" cy="15397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explicativo</a:t>
            </a:r>
          </a:p>
          <a:p>
            <a:pPr lvl="0"/>
            <a:r>
              <a:rPr lang="es-ES" dirty="0"/>
              <a:t>Arial Bold 16</a:t>
            </a:r>
            <a:endParaRPr lang="es-CL" dirty="0"/>
          </a:p>
        </p:txBody>
      </p:sp>
      <p:sp>
        <p:nvSpPr>
          <p:cNvPr id="74" name="Marcador de texto 7">
            <a:extLst>
              <a:ext uri="{FF2B5EF4-FFF2-40B4-BE49-F238E27FC236}">
                <a16:creationId xmlns:a16="http://schemas.microsoft.com/office/drawing/2014/main" xmlns="" id="{55E7DFFB-09B1-2241-828E-6853EF3F217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12901" y="3947663"/>
            <a:ext cx="1257464" cy="51185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996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90" name="Marcador de texto 7">
            <a:extLst>
              <a:ext uri="{FF2B5EF4-FFF2-40B4-BE49-F238E27FC236}">
                <a16:creationId xmlns:a16="http://schemas.microsoft.com/office/drawing/2014/main" xmlns="" id="{A458015D-8739-2F48-BD8C-5FAB6F27784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12906" y="4506531"/>
            <a:ext cx="1339726" cy="25250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91" name="Rectángulo">
            <a:extLst>
              <a:ext uri="{FF2B5EF4-FFF2-40B4-BE49-F238E27FC236}">
                <a16:creationId xmlns:a16="http://schemas.microsoft.com/office/drawing/2014/main" xmlns="" id="{10682241-31DE-024D-A676-34E4EE3DCF6E}"/>
              </a:ext>
            </a:extLst>
          </p:cNvPr>
          <p:cNvSpPr/>
          <p:nvPr userDrawn="1"/>
        </p:nvSpPr>
        <p:spPr>
          <a:xfrm>
            <a:off x="8994072" y="3427828"/>
            <a:ext cx="2736414" cy="34301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>
            <a:noFill/>
            <a:miter lim="400000"/>
          </a:ln>
        </p:spPr>
        <p:txBody>
          <a:bodyPr lIns="25372" tIns="25372" rIns="25372" bIns="25372" anchor="ctr"/>
          <a:lstStyle/>
          <a:p>
            <a:pPr algn="ctr" defTabSz="912570">
              <a:defRPr sz="3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3596" dirty="0"/>
          </a:p>
        </p:txBody>
      </p:sp>
      <p:sp>
        <p:nvSpPr>
          <p:cNvPr id="92" name="Marcador de texto 7">
            <a:extLst>
              <a:ext uri="{FF2B5EF4-FFF2-40B4-BE49-F238E27FC236}">
                <a16:creationId xmlns:a16="http://schemas.microsoft.com/office/drawing/2014/main" xmlns="" id="{37B63F82-511B-904F-AE58-F9D32809557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39602" y="5036560"/>
            <a:ext cx="2186603" cy="15397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explicativo</a:t>
            </a:r>
          </a:p>
          <a:p>
            <a:pPr lvl="0"/>
            <a:r>
              <a:rPr lang="es-ES" dirty="0"/>
              <a:t>Arial Bold 16</a:t>
            </a:r>
            <a:endParaRPr lang="es-CL" dirty="0"/>
          </a:p>
        </p:txBody>
      </p:sp>
      <p:sp>
        <p:nvSpPr>
          <p:cNvPr id="93" name="Marcador de texto 7">
            <a:extLst>
              <a:ext uri="{FF2B5EF4-FFF2-40B4-BE49-F238E27FC236}">
                <a16:creationId xmlns:a16="http://schemas.microsoft.com/office/drawing/2014/main" xmlns="" id="{1B33BBFE-9406-CE41-ACA3-CFE95C7448A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239598" y="3947663"/>
            <a:ext cx="1257464" cy="51185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996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94" name="Marcador de texto 7">
            <a:extLst>
              <a:ext uri="{FF2B5EF4-FFF2-40B4-BE49-F238E27FC236}">
                <a16:creationId xmlns:a16="http://schemas.microsoft.com/office/drawing/2014/main" xmlns="" id="{C874917F-D4AC-584B-91E6-BD1A3D307CF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39601" y="4506531"/>
            <a:ext cx="1339726" cy="25250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22" name="Marcador de texto 7">
            <a:extLst>
              <a:ext uri="{FF2B5EF4-FFF2-40B4-BE49-F238E27FC236}">
                <a16:creationId xmlns:a16="http://schemas.microsoft.com/office/drawing/2014/main" xmlns="" id="{923FBA97-E4C3-5E41-BDE8-E626368C787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26" name="Conector recto 25">
            <a:extLst>
              <a:ext uri="{FF2B5EF4-FFF2-40B4-BE49-F238E27FC236}">
                <a16:creationId xmlns:a16="http://schemas.microsoft.com/office/drawing/2014/main" xmlns="" id="{A6D2B90F-BF7C-5749-A862-DAE4947F632C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7" name="Marcador de texto 7">
            <a:extLst>
              <a:ext uri="{FF2B5EF4-FFF2-40B4-BE49-F238E27FC236}">
                <a16:creationId xmlns:a16="http://schemas.microsoft.com/office/drawing/2014/main" xmlns="" id="{F4B6FA18-E24C-1C4B-AA39-656A4DB12FA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91986823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46" userDrawn="1">
          <p15:clr>
            <a:srgbClr val="FBAE40"/>
          </p15:clr>
        </p15:guide>
        <p15:guide id="3" pos="2952" userDrawn="1">
          <p15:clr>
            <a:srgbClr val="FBAE40"/>
          </p15:clr>
        </p15:guide>
        <p15:guide id="4" orient="horz" pos="1248" userDrawn="1">
          <p15:clr>
            <a:srgbClr val="FBAE40"/>
          </p15:clr>
        </p15:guide>
        <p15:guide id="5" pos="1578" userDrawn="1">
          <p15:clr>
            <a:srgbClr val="FBAE40"/>
          </p15:clr>
        </p15:guide>
        <p15:guide id="6" pos="4309" userDrawn="1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noticias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Imagen 38">
            <a:extLst>
              <a:ext uri="{FF2B5EF4-FFF2-40B4-BE49-F238E27FC236}">
                <a16:creationId xmlns:a16="http://schemas.microsoft.com/office/drawing/2014/main" xmlns="" id="{A18F745A-2F94-7047-844D-CB79FE04F50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22" name="Rectángulo">
            <a:extLst>
              <a:ext uri="{FF2B5EF4-FFF2-40B4-BE49-F238E27FC236}">
                <a16:creationId xmlns:a16="http://schemas.microsoft.com/office/drawing/2014/main" xmlns="" id="{924593A7-BA3B-134F-B552-3C8E240BE639}"/>
              </a:ext>
            </a:extLst>
          </p:cNvPr>
          <p:cNvSpPr/>
          <p:nvPr userDrawn="1"/>
        </p:nvSpPr>
        <p:spPr>
          <a:xfrm>
            <a:off x="436624" y="2598739"/>
            <a:ext cx="2736414" cy="428307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>
            <a:noFill/>
            <a:miter lim="400000"/>
          </a:ln>
        </p:spPr>
        <p:txBody>
          <a:bodyPr lIns="25372" tIns="25372" rIns="25372" bIns="25372" anchor="ctr"/>
          <a:lstStyle/>
          <a:p>
            <a:pPr algn="ctr" defTabSz="912570">
              <a:defRPr sz="3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3596" dirty="0"/>
          </a:p>
        </p:txBody>
      </p:sp>
      <p:sp>
        <p:nvSpPr>
          <p:cNvPr id="28" name="Marcador de texto 7">
            <a:extLst>
              <a:ext uri="{FF2B5EF4-FFF2-40B4-BE49-F238E27FC236}">
                <a16:creationId xmlns:a16="http://schemas.microsoft.com/office/drawing/2014/main" xmlns="" id="{F57E9CCB-4FEF-3B4C-BB29-A871DC96C8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76372" y="2870424"/>
            <a:ext cx="1257464" cy="51185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29" name="Marcador de texto 7">
            <a:extLst>
              <a:ext uri="{FF2B5EF4-FFF2-40B4-BE49-F238E27FC236}">
                <a16:creationId xmlns:a16="http://schemas.microsoft.com/office/drawing/2014/main" xmlns="" id="{D012B9D1-835B-7745-97E3-74B7D8ED94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76372" y="3429292"/>
            <a:ext cx="2337096" cy="123987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6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r>
              <a:rPr lang="es-CL" dirty="0"/>
              <a:t>Texto explicativo Arial 16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xmlns="" id="{0EA17AB2-535B-3E41-9012-14AE4DF3B69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76367" y="4852201"/>
            <a:ext cx="2337105" cy="1465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32" name="Rectángulo">
            <a:extLst>
              <a:ext uri="{FF2B5EF4-FFF2-40B4-BE49-F238E27FC236}">
                <a16:creationId xmlns:a16="http://schemas.microsoft.com/office/drawing/2014/main" xmlns="" id="{47872927-EDEB-034D-AB0F-40AD76882404}"/>
              </a:ext>
            </a:extLst>
          </p:cNvPr>
          <p:cNvSpPr/>
          <p:nvPr userDrawn="1"/>
        </p:nvSpPr>
        <p:spPr>
          <a:xfrm>
            <a:off x="3285258" y="2597945"/>
            <a:ext cx="2736414" cy="4283076"/>
          </a:xfrm>
          <a:prstGeom prst="rect">
            <a:avLst/>
          </a:prstGeom>
          <a:solidFill>
            <a:schemeClr val="accent4"/>
          </a:solidFill>
          <a:ln w="12700">
            <a:noFill/>
            <a:miter lim="400000"/>
          </a:ln>
        </p:spPr>
        <p:txBody>
          <a:bodyPr lIns="25372" tIns="25372" rIns="25372" bIns="25372" anchor="ctr"/>
          <a:lstStyle/>
          <a:p>
            <a:pPr algn="ctr" defTabSz="912570">
              <a:defRPr sz="3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3596" dirty="0"/>
          </a:p>
        </p:txBody>
      </p:sp>
      <p:sp>
        <p:nvSpPr>
          <p:cNvPr id="33" name="Marcador de texto 7">
            <a:extLst>
              <a:ext uri="{FF2B5EF4-FFF2-40B4-BE49-F238E27FC236}">
                <a16:creationId xmlns:a16="http://schemas.microsoft.com/office/drawing/2014/main" xmlns="" id="{0DCF0A1D-0E92-3E4E-AE6C-06E920D6E6E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13460" y="2870424"/>
            <a:ext cx="1257464" cy="51185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34" name="Marcador de texto 7">
            <a:extLst>
              <a:ext uri="{FF2B5EF4-FFF2-40B4-BE49-F238E27FC236}">
                <a16:creationId xmlns:a16="http://schemas.microsoft.com/office/drawing/2014/main" xmlns="" id="{6C423F7D-EEBF-3A44-B527-08BE6EB1B0E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513460" y="3429292"/>
            <a:ext cx="2337096" cy="123987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600" b="0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r>
              <a:rPr lang="es-CL" dirty="0"/>
              <a:t>Texto explicativo Arial 16</a:t>
            </a:r>
          </a:p>
        </p:txBody>
      </p:sp>
      <p:sp>
        <p:nvSpPr>
          <p:cNvPr id="35" name="Marcador de posición de imagen 2">
            <a:extLst>
              <a:ext uri="{FF2B5EF4-FFF2-40B4-BE49-F238E27FC236}">
                <a16:creationId xmlns:a16="http://schemas.microsoft.com/office/drawing/2014/main" xmlns="" id="{93186F0C-C7B9-764C-B99E-96FA0437C4CE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3513455" y="4852201"/>
            <a:ext cx="2337105" cy="1465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36" name="Rectángulo">
            <a:extLst>
              <a:ext uri="{FF2B5EF4-FFF2-40B4-BE49-F238E27FC236}">
                <a16:creationId xmlns:a16="http://schemas.microsoft.com/office/drawing/2014/main" xmlns="" id="{43BC13CA-7E2D-6E45-8712-486D874903DD}"/>
              </a:ext>
            </a:extLst>
          </p:cNvPr>
          <p:cNvSpPr/>
          <p:nvPr userDrawn="1"/>
        </p:nvSpPr>
        <p:spPr>
          <a:xfrm>
            <a:off x="6139665" y="2597945"/>
            <a:ext cx="2736414" cy="428307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>
            <a:noFill/>
            <a:miter lim="400000"/>
          </a:ln>
        </p:spPr>
        <p:txBody>
          <a:bodyPr lIns="25372" tIns="25372" rIns="25372" bIns="25372" anchor="ctr"/>
          <a:lstStyle/>
          <a:p>
            <a:pPr algn="ctr" defTabSz="912570">
              <a:defRPr sz="3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3596" dirty="0"/>
          </a:p>
        </p:txBody>
      </p:sp>
      <p:sp>
        <p:nvSpPr>
          <p:cNvPr id="37" name="Marcador de texto 7">
            <a:extLst>
              <a:ext uri="{FF2B5EF4-FFF2-40B4-BE49-F238E27FC236}">
                <a16:creationId xmlns:a16="http://schemas.microsoft.com/office/drawing/2014/main" xmlns="" id="{B61C247D-37DA-1141-B436-E9CA5E4D938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381728" y="2870424"/>
            <a:ext cx="1257464" cy="51185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38" name="Marcador de texto 7">
            <a:extLst>
              <a:ext uri="{FF2B5EF4-FFF2-40B4-BE49-F238E27FC236}">
                <a16:creationId xmlns:a16="http://schemas.microsoft.com/office/drawing/2014/main" xmlns="" id="{BBA61BC9-7FB0-9C4F-B8DC-AC4C5F1DD8D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81727" y="3429292"/>
            <a:ext cx="2337096" cy="123987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6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r>
              <a:rPr lang="es-CL" dirty="0"/>
              <a:t>Texto explicativo Arial 16</a:t>
            </a:r>
          </a:p>
        </p:txBody>
      </p:sp>
      <p:sp>
        <p:nvSpPr>
          <p:cNvPr id="44" name="Marcador de posición de imagen 2">
            <a:extLst>
              <a:ext uri="{FF2B5EF4-FFF2-40B4-BE49-F238E27FC236}">
                <a16:creationId xmlns:a16="http://schemas.microsoft.com/office/drawing/2014/main" xmlns="" id="{57D13356-69C7-2542-A744-E65AE47B81E2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381715" y="4852201"/>
            <a:ext cx="2337105" cy="1465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45" name="Rectángulo">
            <a:extLst>
              <a:ext uri="{FF2B5EF4-FFF2-40B4-BE49-F238E27FC236}">
                <a16:creationId xmlns:a16="http://schemas.microsoft.com/office/drawing/2014/main" xmlns="" id="{8FB68190-D7E3-B141-817A-FAF1FE4B4632}"/>
              </a:ext>
            </a:extLst>
          </p:cNvPr>
          <p:cNvSpPr/>
          <p:nvPr userDrawn="1"/>
        </p:nvSpPr>
        <p:spPr>
          <a:xfrm>
            <a:off x="8994071" y="2597945"/>
            <a:ext cx="2736414" cy="428307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>
            <a:noFill/>
            <a:miter lim="400000"/>
          </a:ln>
        </p:spPr>
        <p:txBody>
          <a:bodyPr lIns="25372" tIns="25372" rIns="25372" bIns="25372" anchor="ctr"/>
          <a:lstStyle/>
          <a:p>
            <a:pPr algn="ctr" defTabSz="912570">
              <a:defRPr sz="3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3596" dirty="0"/>
          </a:p>
        </p:txBody>
      </p:sp>
      <p:sp>
        <p:nvSpPr>
          <p:cNvPr id="46" name="Marcador de texto 7">
            <a:extLst>
              <a:ext uri="{FF2B5EF4-FFF2-40B4-BE49-F238E27FC236}">
                <a16:creationId xmlns:a16="http://schemas.microsoft.com/office/drawing/2014/main" xmlns="" id="{31421233-7F3D-574E-9B40-A3D57BE496C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208423" y="2870424"/>
            <a:ext cx="1257464" cy="51185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47" name="Marcador de texto 7">
            <a:extLst>
              <a:ext uri="{FF2B5EF4-FFF2-40B4-BE49-F238E27FC236}">
                <a16:creationId xmlns:a16="http://schemas.microsoft.com/office/drawing/2014/main" xmlns="" id="{B2A73391-D262-9140-B309-BB12AA19FA1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208424" y="3429292"/>
            <a:ext cx="2337096" cy="123987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6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r>
              <a:rPr lang="es-CL" dirty="0"/>
              <a:t>Texto explicativo Arial 16</a:t>
            </a:r>
          </a:p>
        </p:txBody>
      </p:sp>
      <p:sp>
        <p:nvSpPr>
          <p:cNvPr id="48" name="Marcador de posición de imagen 2">
            <a:extLst>
              <a:ext uri="{FF2B5EF4-FFF2-40B4-BE49-F238E27FC236}">
                <a16:creationId xmlns:a16="http://schemas.microsoft.com/office/drawing/2014/main" xmlns="" id="{45275E7E-6C59-1249-AD15-26DA1036953E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9208411" y="4852201"/>
            <a:ext cx="2337105" cy="1465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23" name="Marcador de texto 7">
            <a:extLst>
              <a:ext uri="{FF2B5EF4-FFF2-40B4-BE49-F238E27FC236}">
                <a16:creationId xmlns:a16="http://schemas.microsoft.com/office/drawing/2014/main" xmlns="" id="{0DF2D4F5-BFF4-BA42-A5F2-9F63B0B8C8C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25" name="Conector recto 24">
            <a:extLst>
              <a:ext uri="{FF2B5EF4-FFF2-40B4-BE49-F238E27FC236}">
                <a16:creationId xmlns:a16="http://schemas.microsoft.com/office/drawing/2014/main" xmlns="" id="{9FF6CE03-CA68-3A41-8651-B0B0DBE026D4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7" name="Marcador de texto 7">
            <a:extLst>
              <a:ext uri="{FF2B5EF4-FFF2-40B4-BE49-F238E27FC236}">
                <a16:creationId xmlns:a16="http://schemas.microsoft.com/office/drawing/2014/main" xmlns="" id="{10623B86-9F71-884B-B968-29A25EF80A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21247059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46" userDrawn="1">
          <p15:clr>
            <a:srgbClr val="FBAE40"/>
          </p15:clr>
        </p15:guide>
        <p15:guide id="3" pos="2952" userDrawn="1">
          <p15:clr>
            <a:srgbClr val="FBAE40"/>
          </p15:clr>
        </p15:guide>
        <p15:guide id="4" orient="horz" pos="1247" userDrawn="1">
          <p15:clr>
            <a:srgbClr val="FBAE40"/>
          </p15:clr>
        </p15:guide>
        <p15:guide id="5" pos="1578" userDrawn="1">
          <p15:clr>
            <a:srgbClr val="FBAE40"/>
          </p15:clr>
        </p15:guide>
        <p15:guide id="6" pos="4309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xmlns="" id="{C0B972A3-E7F3-0A4F-BEE6-2EE7AC84380C}"/>
              </a:ext>
            </a:extLst>
          </p:cNvPr>
          <p:cNvSpPr/>
          <p:nvPr userDrawn="1"/>
        </p:nvSpPr>
        <p:spPr>
          <a:xfrm>
            <a:off x="1" y="0"/>
            <a:ext cx="12193588" cy="6858000"/>
          </a:xfrm>
          <a:prstGeom prst="rect">
            <a:avLst/>
          </a:prstGeom>
          <a:solidFill>
            <a:srgbClr val="1185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797" dirty="0"/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xmlns="" id="{18404275-C21C-B344-92AA-B363C5F8F24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cxnSp>
        <p:nvCxnSpPr>
          <p:cNvPr id="12" name="Conector recto 11">
            <a:extLst>
              <a:ext uri="{FF2B5EF4-FFF2-40B4-BE49-F238E27FC236}">
                <a16:creationId xmlns:a16="http://schemas.microsoft.com/office/drawing/2014/main" xmlns="" id="{2E94A797-3320-F543-B24F-6FE8F5A4A301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bg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347927390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exto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xmlns="" id="{C6F6EF54-31B0-E446-AA5A-A0BC24DEC5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3" y="1596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63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xmlns="" id="{C6F6EF54-31B0-E446-AA5A-A0BC24DEC5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3" y="1596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Marcador de posición de imagen 3">
            <a:extLst>
              <a:ext uri="{FF2B5EF4-FFF2-40B4-BE49-F238E27FC236}">
                <a16:creationId xmlns:a16="http://schemas.microsoft.com/office/drawing/2014/main" xmlns="" id="{602734B2-65B4-284E-AF5A-74CF40B7669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358816" y="1629752"/>
            <a:ext cx="7355289" cy="46457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30" name="Marcador de posición de imagen 5">
            <a:extLst>
              <a:ext uri="{FF2B5EF4-FFF2-40B4-BE49-F238E27FC236}">
                <a16:creationId xmlns:a16="http://schemas.microsoft.com/office/drawing/2014/main" xmlns="" id="{57FDAB6D-EC3D-AD46-90D9-9F81574BB84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50526" y="1629753"/>
            <a:ext cx="3599491" cy="2235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43" name="Marcador de posición de imagen 5">
            <a:extLst>
              <a:ext uri="{FF2B5EF4-FFF2-40B4-BE49-F238E27FC236}">
                <a16:creationId xmlns:a16="http://schemas.microsoft.com/office/drawing/2014/main" xmlns="" id="{2934B818-E267-2047-A000-A4E61AED264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50526" y="4039866"/>
            <a:ext cx="3599491" cy="2235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10" name="Marcador de número de diapositiva 1">
            <a:extLst>
              <a:ext uri="{FF2B5EF4-FFF2-40B4-BE49-F238E27FC236}">
                <a16:creationId xmlns:a16="http://schemas.microsoft.com/office/drawing/2014/main" xmlns="" id="{576392FD-B02F-5841-A6D5-3B95F612C7BA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000" dirty="0"/>
          </a:p>
        </p:txBody>
      </p:sp>
      <p:sp>
        <p:nvSpPr>
          <p:cNvPr id="11" name="Marcador de texto 7">
            <a:extLst>
              <a:ext uri="{FF2B5EF4-FFF2-40B4-BE49-F238E27FC236}">
                <a16:creationId xmlns:a16="http://schemas.microsoft.com/office/drawing/2014/main" xmlns="" id="{0D5B4A80-FF98-5043-9DB4-65A4E4D2B4D4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2" name="Conector recto 11">
            <a:extLst>
              <a:ext uri="{FF2B5EF4-FFF2-40B4-BE49-F238E27FC236}">
                <a16:creationId xmlns:a16="http://schemas.microsoft.com/office/drawing/2014/main" xmlns="" id="{1A2BD6C8-D199-F243-AC0C-40BCCDBBEE95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4" name="Marcador de texto 7">
            <a:extLst>
              <a:ext uri="{FF2B5EF4-FFF2-40B4-BE49-F238E27FC236}">
                <a16:creationId xmlns:a16="http://schemas.microsoft.com/office/drawing/2014/main" xmlns="" id="{8393B422-31BD-8F49-8CAF-F352986358DE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10109050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011" userDrawn="1">
          <p15:clr>
            <a:srgbClr val="FBAE40"/>
          </p15:clr>
        </p15:guide>
        <p15:guide id="2" pos="282" userDrawn="1">
          <p15:clr>
            <a:srgbClr val="FBAE40"/>
          </p15:clr>
        </p15:guide>
        <p15:guide id="4" orient="horz" pos="298" userDrawn="1">
          <p15:clr>
            <a:srgbClr val="FBAE40"/>
          </p15:clr>
        </p15:guide>
        <p15:guide id="6" pos="5622" userDrawn="1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exto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Marcador de posición de imagen 3">
            <a:extLst>
              <a:ext uri="{FF2B5EF4-FFF2-40B4-BE49-F238E27FC236}">
                <a16:creationId xmlns:a16="http://schemas.microsoft.com/office/drawing/2014/main" xmlns="" id="{602734B2-65B4-284E-AF5A-74CF40B7669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87452" y="635000"/>
            <a:ext cx="7085935" cy="5621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30" name="Marcador de posición de imagen 5">
            <a:extLst>
              <a:ext uri="{FF2B5EF4-FFF2-40B4-BE49-F238E27FC236}">
                <a16:creationId xmlns:a16="http://schemas.microsoft.com/office/drawing/2014/main" xmlns="" id="{57FDAB6D-EC3D-AD46-90D9-9F81574BB84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7893289" y="635000"/>
            <a:ext cx="38390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43" name="Marcador de posición de imagen 5">
            <a:extLst>
              <a:ext uri="{FF2B5EF4-FFF2-40B4-BE49-F238E27FC236}">
                <a16:creationId xmlns:a16="http://schemas.microsoft.com/office/drawing/2014/main" xmlns="" id="{2934B818-E267-2047-A000-A4E61AED264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893289" y="3551238"/>
            <a:ext cx="38390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7" name="Marcador de número de diapositiva 1">
            <a:extLst>
              <a:ext uri="{FF2B5EF4-FFF2-40B4-BE49-F238E27FC236}">
                <a16:creationId xmlns:a16="http://schemas.microsoft.com/office/drawing/2014/main" xmlns="" id="{53F0F98A-0BE7-C445-8A01-4DF67FEAEA39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000" dirty="0"/>
          </a:p>
        </p:txBody>
      </p:sp>
    </p:spTree>
    <p:extLst>
      <p:ext uri="{BB962C8B-B14F-4D97-AF65-F5344CB8AC3E}">
        <p14:creationId xmlns:p14="http://schemas.microsoft.com/office/powerpoint/2010/main" val="168593540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011" userDrawn="1">
          <p15:clr>
            <a:srgbClr val="FBAE40"/>
          </p15:clr>
        </p15:guide>
        <p15:guide id="2" pos="282" userDrawn="1">
          <p15:clr>
            <a:srgbClr val="FBAE40"/>
          </p15:clr>
        </p15:guide>
        <p15:guide id="4" orient="horz" pos="298" userDrawn="1">
          <p15:clr>
            <a:srgbClr val="FBAE40"/>
          </p15:clr>
        </p15:guide>
        <p15:guide id="6" pos="5631" userDrawn="1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exto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Marcador de posición de imagen 3">
            <a:extLst>
              <a:ext uri="{FF2B5EF4-FFF2-40B4-BE49-F238E27FC236}">
                <a16:creationId xmlns:a16="http://schemas.microsoft.com/office/drawing/2014/main" xmlns="" id="{602734B2-65B4-284E-AF5A-74CF40B7669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" y="0"/>
            <a:ext cx="12193588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7" name="Marcador de número de diapositiva 1">
            <a:extLst>
              <a:ext uri="{FF2B5EF4-FFF2-40B4-BE49-F238E27FC236}">
                <a16:creationId xmlns:a16="http://schemas.microsoft.com/office/drawing/2014/main" xmlns="" id="{8C7E3B29-93C0-E749-825D-83469FC29305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000" dirty="0"/>
          </a:p>
        </p:txBody>
      </p:sp>
      <p:sp>
        <p:nvSpPr>
          <p:cNvPr id="6" name="Marcador de texto 7">
            <a:extLst>
              <a:ext uri="{FF2B5EF4-FFF2-40B4-BE49-F238E27FC236}">
                <a16:creationId xmlns:a16="http://schemas.microsoft.com/office/drawing/2014/main" xmlns="" id="{373DB92C-D7BC-D841-9636-BA32205DECB6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538541" y="450851"/>
            <a:ext cx="8338558" cy="41291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2396" b="1">
                <a:solidFill>
                  <a:schemeClr val="bg1"/>
                </a:solidFill>
                <a:highlight>
                  <a:srgbClr val="106737"/>
                </a:highlight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8" name="Conector recto 7">
            <a:extLst>
              <a:ext uri="{FF2B5EF4-FFF2-40B4-BE49-F238E27FC236}">
                <a16:creationId xmlns:a16="http://schemas.microsoft.com/office/drawing/2014/main" xmlns="" id="{1FC4C35B-D955-E047-9893-C6E4CC236A38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9" name="Marcador de texto 7">
            <a:extLst>
              <a:ext uri="{FF2B5EF4-FFF2-40B4-BE49-F238E27FC236}">
                <a16:creationId xmlns:a16="http://schemas.microsoft.com/office/drawing/2014/main" xmlns="" id="{9E69417E-6B74-E443-B820-1EE059052A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8541" y="878297"/>
            <a:ext cx="8338558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996" b="0">
                <a:solidFill>
                  <a:schemeClr val="accent2"/>
                </a:solidFill>
                <a:highlight>
                  <a:srgbClr val="106737"/>
                </a:highlight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68684468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Verde Portadilla capitulo c titulo y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:a16="http://schemas.microsoft.com/office/drawing/2014/main" xmlns="" id="{A842F5C6-0515-1145-9807-C80362D28BC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2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3588" cy="6858000"/>
          </a:xfrm>
          <a:prstGeom prst="rect">
            <a:avLst/>
          </a:prstGeom>
        </p:spPr>
      </p:pic>
      <p:sp>
        <p:nvSpPr>
          <p:cNvPr id="3" name="Título 1">
            <a:extLst>
              <a:ext uri="{FF2B5EF4-FFF2-40B4-BE49-F238E27FC236}">
                <a16:creationId xmlns:a16="http://schemas.microsoft.com/office/drawing/2014/main" xmlns="" id="{543D02BF-D139-924D-9792-878836A739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187" y="452439"/>
            <a:ext cx="5918660" cy="1821130"/>
          </a:xfrm>
          <a:prstGeom prst="rect">
            <a:avLst/>
          </a:prstGeom>
        </p:spPr>
        <p:txBody>
          <a:bodyPr/>
          <a:lstStyle>
            <a:lvl1pPr>
              <a:lnSpc>
                <a:spcPts val="3996"/>
              </a:lnSpc>
              <a:defRPr sz="3996">
                <a:solidFill>
                  <a:schemeClr val="bg1"/>
                </a:solidFill>
              </a:defRPr>
            </a:lvl1pPr>
          </a:lstStyle>
          <a:p>
            <a:r>
              <a:rPr lang="es-ES" dirty="0"/>
              <a:t>Título portadilla</a:t>
            </a:r>
            <a:br>
              <a:rPr lang="es-ES" dirty="0"/>
            </a:br>
            <a:r>
              <a:rPr lang="es-ES" dirty="0"/>
              <a:t>Máximo 3 líneas</a:t>
            </a:r>
            <a:br>
              <a:rPr lang="es-ES" dirty="0"/>
            </a:br>
            <a:r>
              <a:rPr lang="es-ES" dirty="0"/>
              <a:t>Arial Bold – 40 puntos</a:t>
            </a:r>
            <a:endParaRPr lang="es-CL" dirty="0"/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xmlns="" id="{19AEBDCF-F640-B141-94AC-8D95A0E222E4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747872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Verde Portadilla capitulo c titulo y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:a16="http://schemas.microsoft.com/office/drawing/2014/main" xmlns="" id="{A842F5C6-0515-1145-9807-C80362D28BC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2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3588" cy="6858000"/>
          </a:xfrm>
          <a:prstGeom prst="rect">
            <a:avLst/>
          </a:prstGeom>
        </p:spPr>
      </p:pic>
      <p:sp>
        <p:nvSpPr>
          <p:cNvPr id="3" name="Título 1">
            <a:extLst>
              <a:ext uri="{FF2B5EF4-FFF2-40B4-BE49-F238E27FC236}">
                <a16:creationId xmlns:a16="http://schemas.microsoft.com/office/drawing/2014/main" xmlns="" id="{543D02BF-D139-924D-9792-878836A739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187" y="452439"/>
            <a:ext cx="5918660" cy="1821130"/>
          </a:xfrm>
          <a:prstGeom prst="rect">
            <a:avLst/>
          </a:prstGeom>
        </p:spPr>
        <p:txBody>
          <a:bodyPr/>
          <a:lstStyle>
            <a:lvl1pPr>
              <a:lnSpc>
                <a:spcPts val="3996"/>
              </a:lnSpc>
              <a:defRPr sz="3996">
                <a:solidFill>
                  <a:schemeClr val="bg1"/>
                </a:solidFill>
              </a:defRPr>
            </a:lvl1pPr>
          </a:lstStyle>
          <a:p>
            <a:r>
              <a:rPr lang="es-ES" dirty="0"/>
              <a:t>Título portadilla</a:t>
            </a:r>
            <a:br>
              <a:rPr lang="es-ES" dirty="0"/>
            </a:br>
            <a:r>
              <a:rPr lang="es-ES" dirty="0"/>
              <a:t>Máximo 3 líneas</a:t>
            </a:r>
            <a:br>
              <a:rPr lang="es-ES" dirty="0"/>
            </a:br>
            <a:r>
              <a:rPr lang="es-ES" dirty="0"/>
              <a:t>Arial Bold – 40 puntos</a:t>
            </a:r>
            <a:endParaRPr lang="es-CL" dirty="0"/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xmlns="" id="{19AEBDCF-F640-B141-94AC-8D95A0E222E4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669156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Verde Portadilla capitulo c titulo y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:a16="http://schemas.microsoft.com/office/drawing/2014/main" xmlns="" id="{A842F5C6-0515-1145-9807-C80362D28BC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2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3588" cy="6858000"/>
          </a:xfrm>
          <a:prstGeom prst="rect">
            <a:avLst/>
          </a:prstGeom>
        </p:spPr>
      </p:pic>
      <p:sp>
        <p:nvSpPr>
          <p:cNvPr id="3" name="Título 1">
            <a:extLst>
              <a:ext uri="{FF2B5EF4-FFF2-40B4-BE49-F238E27FC236}">
                <a16:creationId xmlns:a16="http://schemas.microsoft.com/office/drawing/2014/main" xmlns="" id="{543D02BF-D139-924D-9792-878836A739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187" y="452439"/>
            <a:ext cx="5918660" cy="1821130"/>
          </a:xfrm>
          <a:prstGeom prst="rect">
            <a:avLst/>
          </a:prstGeom>
        </p:spPr>
        <p:txBody>
          <a:bodyPr/>
          <a:lstStyle>
            <a:lvl1pPr>
              <a:lnSpc>
                <a:spcPts val="3996"/>
              </a:lnSpc>
              <a:defRPr sz="3996">
                <a:solidFill>
                  <a:srgbClr val="004F59"/>
                </a:solidFill>
              </a:defRPr>
            </a:lvl1pPr>
          </a:lstStyle>
          <a:p>
            <a:r>
              <a:rPr lang="es-ES" dirty="0"/>
              <a:t>Título portadilla</a:t>
            </a:r>
            <a:br>
              <a:rPr lang="es-ES" dirty="0"/>
            </a:br>
            <a:r>
              <a:rPr lang="es-ES" dirty="0"/>
              <a:t>Máximo 3 líneas</a:t>
            </a:r>
            <a:br>
              <a:rPr lang="es-ES" dirty="0"/>
            </a:br>
            <a:r>
              <a:rPr lang="es-ES" dirty="0"/>
              <a:t>Arial Bold – 40 puntos</a:t>
            </a:r>
            <a:endParaRPr lang="es-CL" dirty="0"/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xmlns="" id="{19AEBDCF-F640-B141-94AC-8D95A0E222E4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1493426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Verde Portadilla capitulo c titulo y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DF6EE129-4872-0A4A-B055-6213AA0EA01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3588" cy="6858000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xmlns="" id="{19AEBDCF-F640-B141-94AC-8D95A0E222E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8" name="Título 1">
            <a:extLst>
              <a:ext uri="{FF2B5EF4-FFF2-40B4-BE49-F238E27FC236}">
                <a16:creationId xmlns:a16="http://schemas.microsoft.com/office/drawing/2014/main" xmlns="" id="{51915D89-6592-B349-92CA-2C1DC6AFBE3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188" y="507313"/>
            <a:ext cx="9337445" cy="1821130"/>
          </a:xfrm>
          <a:prstGeom prst="rect">
            <a:avLst/>
          </a:prstGeom>
        </p:spPr>
        <p:txBody>
          <a:bodyPr/>
          <a:lstStyle>
            <a:lvl1pPr>
              <a:lnSpc>
                <a:spcPts val="3996"/>
              </a:lnSpc>
              <a:defRPr sz="3996">
                <a:solidFill>
                  <a:schemeClr val="bg1"/>
                </a:solidFill>
                <a:highlight>
                  <a:srgbClr val="004F59"/>
                </a:highlight>
              </a:defRPr>
            </a:lvl1pPr>
          </a:lstStyle>
          <a:p>
            <a:r>
              <a:rPr lang="es-ES" dirty="0"/>
              <a:t>Título portadilla</a:t>
            </a:r>
            <a:br>
              <a:rPr lang="es-ES" dirty="0"/>
            </a:br>
            <a:r>
              <a:rPr lang="es-ES" dirty="0"/>
              <a:t>Máximo 3 líneas</a:t>
            </a:r>
            <a:br>
              <a:rPr lang="es-ES" dirty="0"/>
            </a:br>
            <a:r>
              <a:rPr lang="es-ES" dirty="0"/>
              <a:t>Arial Bold – 40 puntos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655056252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Verde Portadilla capitulo c titulo y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DF6EE129-4872-0A4A-B055-6213AA0EA01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3588" cy="6858000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xmlns="" id="{19AEBDCF-F640-B141-94AC-8D95A0E222E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4" name="Título 1">
            <a:extLst>
              <a:ext uri="{FF2B5EF4-FFF2-40B4-BE49-F238E27FC236}">
                <a16:creationId xmlns:a16="http://schemas.microsoft.com/office/drawing/2014/main" xmlns="" id="{72B59E6F-F136-6641-AB57-1842D5D39A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188" y="507313"/>
            <a:ext cx="9337445" cy="1821130"/>
          </a:xfrm>
          <a:prstGeom prst="rect">
            <a:avLst/>
          </a:prstGeom>
        </p:spPr>
        <p:txBody>
          <a:bodyPr/>
          <a:lstStyle>
            <a:lvl1pPr>
              <a:lnSpc>
                <a:spcPts val="3996"/>
              </a:lnSpc>
              <a:defRPr sz="3996">
                <a:solidFill>
                  <a:schemeClr val="bg1"/>
                </a:solidFill>
                <a:highlight>
                  <a:srgbClr val="00773D"/>
                </a:highlight>
              </a:defRPr>
            </a:lvl1pPr>
          </a:lstStyle>
          <a:p>
            <a:r>
              <a:rPr lang="es-ES" dirty="0"/>
              <a:t>Título portadilla</a:t>
            </a:r>
            <a:br>
              <a:rPr lang="es-ES" dirty="0"/>
            </a:br>
            <a:r>
              <a:rPr lang="es-ES" dirty="0"/>
              <a:t>Máximo 3 líneas</a:t>
            </a:r>
            <a:br>
              <a:rPr lang="es-ES" dirty="0"/>
            </a:br>
            <a:r>
              <a:rPr lang="es-ES" dirty="0"/>
              <a:t>Arial Bold – 40 puntos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741875630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Verde Portadilla capitulo c titulo y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DF6EE129-4872-0A4A-B055-6213AA0EA01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6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3588" cy="6858000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xmlns="" id="{19AEBDCF-F640-B141-94AC-8D95A0E222E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4" name="Título 1">
            <a:extLst>
              <a:ext uri="{FF2B5EF4-FFF2-40B4-BE49-F238E27FC236}">
                <a16:creationId xmlns:a16="http://schemas.microsoft.com/office/drawing/2014/main" xmlns="" id="{BFEBE4AB-C2D5-C14F-9C76-26149131AE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188" y="507313"/>
            <a:ext cx="9337445" cy="1821130"/>
          </a:xfrm>
          <a:prstGeom prst="rect">
            <a:avLst/>
          </a:prstGeom>
        </p:spPr>
        <p:txBody>
          <a:bodyPr/>
          <a:lstStyle>
            <a:lvl1pPr>
              <a:lnSpc>
                <a:spcPts val="3996"/>
              </a:lnSpc>
              <a:defRPr sz="3996">
                <a:solidFill>
                  <a:schemeClr val="bg1"/>
                </a:solidFill>
                <a:highlight>
                  <a:srgbClr val="00773D"/>
                </a:highlight>
              </a:defRPr>
            </a:lvl1pPr>
          </a:lstStyle>
          <a:p>
            <a:r>
              <a:rPr lang="es-ES" dirty="0"/>
              <a:t>Título portadilla</a:t>
            </a:r>
            <a:br>
              <a:rPr lang="es-ES" dirty="0"/>
            </a:br>
            <a:r>
              <a:rPr lang="es-ES" dirty="0"/>
              <a:t>Máximo 3 líneas</a:t>
            </a:r>
            <a:br>
              <a:rPr lang="es-ES" dirty="0"/>
            </a:br>
            <a:r>
              <a:rPr lang="es-ES" dirty="0"/>
              <a:t>Arial Bold – 40 puntos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26279943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erde Achs_sin logo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>
            <a:extLst>
              <a:ext uri="{FF2B5EF4-FFF2-40B4-BE49-F238E27FC236}">
                <a16:creationId xmlns:a16="http://schemas.microsoft.com/office/drawing/2014/main" xmlns="" id="{52A0A78E-9C19-6E4A-A9C5-010B72700B5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3" name="Marcador de texto 7">
            <a:extLst>
              <a:ext uri="{FF2B5EF4-FFF2-40B4-BE49-F238E27FC236}">
                <a16:creationId xmlns:a16="http://schemas.microsoft.com/office/drawing/2014/main" xmlns="" id="{9275DFA3-80D5-1740-B90A-EB45398A631D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538541" y="450851"/>
            <a:ext cx="8338558" cy="41291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2396" b="1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4" name="Conector recto 3">
            <a:extLst>
              <a:ext uri="{FF2B5EF4-FFF2-40B4-BE49-F238E27FC236}">
                <a16:creationId xmlns:a16="http://schemas.microsoft.com/office/drawing/2014/main" xmlns="" id="{00133179-9783-FE43-9A77-EC2141CDFCD6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5" name="Marcador de texto 7">
            <a:extLst>
              <a:ext uri="{FF2B5EF4-FFF2-40B4-BE49-F238E27FC236}">
                <a16:creationId xmlns:a16="http://schemas.microsoft.com/office/drawing/2014/main" xmlns="" id="{4FE243A2-320F-5C4F-849B-AE525629BAE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8541" y="878297"/>
            <a:ext cx="8338558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996" b="0">
                <a:solidFill>
                  <a:schemeClr val="accent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8701615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xmlns="" id="{C0B972A3-E7F3-0A4F-BEE6-2EE7AC84380C}"/>
              </a:ext>
            </a:extLst>
          </p:cNvPr>
          <p:cNvSpPr/>
          <p:nvPr userDrawn="1"/>
        </p:nvSpPr>
        <p:spPr>
          <a:xfrm>
            <a:off x="1" y="0"/>
            <a:ext cx="12193588" cy="6858000"/>
          </a:xfrm>
          <a:prstGeom prst="rect">
            <a:avLst/>
          </a:prstGeom>
          <a:solidFill>
            <a:srgbClr val="064F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797" dirty="0"/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xmlns="" id="{18404275-C21C-B344-92AA-B363C5F8F24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cxnSp>
        <p:nvCxnSpPr>
          <p:cNvPr id="12" name="Conector recto 11">
            <a:extLst>
              <a:ext uri="{FF2B5EF4-FFF2-40B4-BE49-F238E27FC236}">
                <a16:creationId xmlns:a16="http://schemas.microsoft.com/office/drawing/2014/main" xmlns="" id="{2E94A797-3320-F543-B24F-6FE8F5A4A301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bg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2451795136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Verde Achs_sin logo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>
            <a:extLst>
              <a:ext uri="{FF2B5EF4-FFF2-40B4-BE49-F238E27FC236}">
                <a16:creationId xmlns:a16="http://schemas.microsoft.com/office/drawing/2014/main" xmlns="" id="{2640811A-8CC8-A046-A4CF-F235EF5F642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3" name="Marcador de texto 7">
            <a:extLst>
              <a:ext uri="{FF2B5EF4-FFF2-40B4-BE49-F238E27FC236}">
                <a16:creationId xmlns:a16="http://schemas.microsoft.com/office/drawing/2014/main" xmlns="" id="{2062270F-C64B-6540-AA09-829F60E76214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538541" y="450851"/>
            <a:ext cx="8338558" cy="41291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2396" b="1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4" name="Conector recto 3">
            <a:extLst>
              <a:ext uri="{FF2B5EF4-FFF2-40B4-BE49-F238E27FC236}">
                <a16:creationId xmlns:a16="http://schemas.microsoft.com/office/drawing/2014/main" xmlns="" id="{A747E280-0B20-7149-B59B-3D4EA440D82B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5" name="Marcador de texto 7">
            <a:extLst>
              <a:ext uri="{FF2B5EF4-FFF2-40B4-BE49-F238E27FC236}">
                <a16:creationId xmlns:a16="http://schemas.microsoft.com/office/drawing/2014/main" xmlns="" id="{6CC95EA1-DB75-9F47-A02F-9BE0DB0D567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8541" y="878297"/>
            <a:ext cx="8338558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996" b="0">
                <a:solidFill>
                  <a:schemeClr val="accent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04231564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Verde Achs_sin logo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>
            <a:extLst>
              <a:ext uri="{FF2B5EF4-FFF2-40B4-BE49-F238E27FC236}">
                <a16:creationId xmlns:a16="http://schemas.microsoft.com/office/drawing/2014/main" xmlns="" id="{00FF3ED5-CC62-284F-960E-CC143DB8E3C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3" name="Marcador de texto 7">
            <a:extLst>
              <a:ext uri="{FF2B5EF4-FFF2-40B4-BE49-F238E27FC236}">
                <a16:creationId xmlns:a16="http://schemas.microsoft.com/office/drawing/2014/main" xmlns="" id="{412316CD-85B2-1F4A-9F37-E12D776066E8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538541" y="450851"/>
            <a:ext cx="8338558" cy="41291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2396" b="1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4" name="Conector recto 3">
            <a:extLst>
              <a:ext uri="{FF2B5EF4-FFF2-40B4-BE49-F238E27FC236}">
                <a16:creationId xmlns:a16="http://schemas.microsoft.com/office/drawing/2014/main" xmlns="" id="{B4B865D6-A588-344B-B0D4-C631F4CA6C6F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5" name="Marcador de texto 7">
            <a:extLst>
              <a:ext uri="{FF2B5EF4-FFF2-40B4-BE49-F238E27FC236}">
                <a16:creationId xmlns:a16="http://schemas.microsoft.com/office/drawing/2014/main" xmlns="" id="{26DEB4F9-DC74-FA40-B2D6-FE63917C384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8541" y="878297"/>
            <a:ext cx="8338558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996" b="0">
                <a:solidFill>
                  <a:schemeClr val="accent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25314068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Verde Portadilla capitulo c titulo y log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:a16="http://schemas.microsoft.com/office/drawing/2014/main" xmlns="" id="{AE778524-FF3E-854B-8354-9055B254C10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8" name="Marcador de texto 7">
            <a:extLst>
              <a:ext uri="{FF2B5EF4-FFF2-40B4-BE49-F238E27FC236}">
                <a16:creationId xmlns:a16="http://schemas.microsoft.com/office/drawing/2014/main" xmlns="" id="{DC54188A-B9E9-1D4B-8950-07E76EB98485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538541" y="450851"/>
            <a:ext cx="8338558" cy="41291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2396" b="1">
                <a:solidFill>
                  <a:schemeClr val="bg1"/>
                </a:solidFill>
                <a:highlight>
                  <a:srgbClr val="106737"/>
                </a:highlight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9" name="Conector recto 8">
            <a:extLst>
              <a:ext uri="{FF2B5EF4-FFF2-40B4-BE49-F238E27FC236}">
                <a16:creationId xmlns:a16="http://schemas.microsoft.com/office/drawing/2014/main" xmlns="" id="{487C25FB-2509-FF4C-9730-F2421E8A6DE7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" name="Marcador de texto 7">
            <a:extLst>
              <a:ext uri="{FF2B5EF4-FFF2-40B4-BE49-F238E27FC236}">
                <a16:creationId xmlns:a16="http://schemas.microsoft.com/office/drawing/2014/main" xmlns="" id="{63559D8E-DA94-FE4A-8F9E-B86ECB18ACE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8541" y="878297"/>
            <a:ext cx="8338558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996" b="0">
                <a:solidFill>
                  <a:schemeClr val="accent2"/>
                </a:solidFill>
                <a:highlight>
                  <a:srgbClr val="106737"/>
                </a:highlight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653217146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erde Portadilla capitulo c titulo y logo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>
            <a:extLst>
              <a:ext uri="{FF2B5EF4-FFF2-40B4-BE49-F238E27FC236}">
                <a16:creationId xmlns:a16="http://schemas.microsoft.com/office/drawing/2014/main" xmlns="" id="{D995375A-BF6D-374E-9047-693FB87BEE3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940072" y="452446"/>
            <a:ext cx="796330" cy="796227"/>
          </a:xfrm>
          <a:prstGeom prst="rect">
            <a:avLst/>
          </a:prstGeom>
        </p:spPr>
      </p:pic>
      <p:sp>
        <p:nvSpPr>
          <p:cNvPr id="3" name="Título 1">
            <a:extLst>
              <a:ext uri="{FF2B5EF4-FFF2-40B4-BE49-F238E27FC236}">
                <a16:creationId xmlns:a16="http://schemas.microsoft.com/office/drawing/2014/main" xmlns="" id="{543D02BF-D139-924D-9792-878836A739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187" y="1248665"/>
            <a:ext cx="5918660" cy="1821130"/>
          </a:xfrm>
          <a:prstGeom prst="rect">
            <a:avLst/>
          </a:prstGeom>
        </p:spPr>
        <p:txBody>
          <a:bodyPr/>
          <a:lstStyle>
            <a:lvl1pPr>
              <a:lnSpc>
                <a:spcPts val="3996"/>
              </a:lnSpc>
              <a:defRPr sz="3996">
                <a:solidFill>
                  <a:schemeClr val="bg1"/>
                </a:solidFill>
              </a:defRPr>
            </a:lvl1pPr>
          </a:lstStyle>
          <a:p>
            <a:r>
              <a:rPr lang="es-ES" dirty="0"/>
              <a:t>Título portadilla</a:t>
            </a:r>
            <a:br>
              <a:rPr lang="es-ES" dirty="0"/>
            </a:br>
            <a:r>
              <a:rPr lang="es-ES" dirty="0"/>
              <a:t>Máximo 3 líneas</a:t>
            </a:r>
            <a:br>
              <a:rPr lang="es-ES" dirty="0"/>
            </a:br>
            <a:r>
              <a:rPr lang="es-ES" dirty="0"/>
              <a:t>Arial Bold – 40 puntos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037618163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Verde Portadilla capitulo c titulo y logo">
    <p:bg>
      <p:bgPr>
        <a:solidFill>
          <a:srgbClr val="F0B3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>
            <a:extLst>
              <a:ext uri="{FF2B5EF4-FFF2-40B4-BE49-F238E27FC236}">
                <a16:creationId xmlns:a16="http://schemas.microsoft.com/office/drawing/2014/main" xmlns="" id="{FEBAE79F-82DE-FA46-9E55-37BE80AA774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109" b="9220"/>
          <a:stretch/>
        </p:blipFill>
        <p:spPr>
          <a:xfrm>
            <a:off x="4" y="0"/>
            <a:ext cx="12207210" cy="6858000"/>
          </a:xfrm>
          <a:prstGeom prst="rect">
            <a:avLst/>
          </a:prstGeom>
        </p:spPr>
      </p:pic>
      <p:pic>
        <p:nvPicPr>
          <p:cNvPr id="2" name="Imagen 1">
            <a:extLst>
              <a:ext uri="{FF2B5EF4-FFF2-40B4-BE49-F238E27FC236}">
                <a16:creationId xmlns:a16="http://schemas.microsoft.com/office/drawing/2014/main" xmlns="" id="{D995375A-BF6D-374E-9047-693FB87BEE3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940072" y="452446"/>
            <a:ext cx="796330" cy="7962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4959751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Verde Portadilla capitulo c titulo y logo">
    <p:bg>
      <p:bgPr>
        <a:solidFill>
          <a:srgbClr val="F0B3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:a16="http://schemas.microsoft.com/office/drawing/2014/main" xmlns="" id="{8F4FC2CC-9110-8647-AB81-F21ACEBC811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245" b="3683"/>
          <a:stretch/>
        </p:blipFill>
        <p:spPr>
          <a:xfrm>
            <a:off x="0" y="0"/>
            <a:ext cx="12183832" cy="6858000"/>
          </a:xfrm>
          <a:prstGeom prst="rect">
            <a:avLst/>
          </a:prstGeom>
        </p:spPr>
      </p:pic>
      <p:pic>
        <p:nvPicPr>
          <p:cNvPr id="2" name="Imagen 1">
            <a:extLst>
              <a:ext uri="{FF2B5EF4-FFF2-40B4-BE49-F238E27FC236}">
                <a16:creationId xmlns:a16="http://schemas.microsoft.com/office/drawing/2014/main" xmlns="" id="{D995375A-BF6D-374E-9047-693FB87BEE3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940072" y="452446"/>
            <a:ext cx="796330" cy="796227"/>
          </a:xfrm>
          <a:prstGeom prst="rect">
            <a:avLst/>
          </a:prstGeom>
        </p:spPr>
      </p:pic>
      <p:sp>
        <p:nvSpPr>
          <p:cNvPr id="7" name="Título 1">
            <a:extLst>
              <a:ext uri="{FF2B5EF4-FFF2-40B4-BE49-F238E27FC236}">
                <a16:creationId xmlns:a16="http://schemas.microsoft.com/office/drawing/2014/main" xmlns="" id="{B7C81B1C-716A-524C-87BE-8235AA58EE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151" y="1268421"/>
            <a:ext cx="5918660" cy="2021853"/>
          </a:xfrm>
          <a:prstGeom prst="rect">
            <a:avLst/>
          </a:prstGeom>
        </p:spPr>
        <p:txBody>
          <a:bodyPr/>
          <a:lstStyle>
            <a:lvl1pPr>
              <a:lnSpc>
                <a:spcPts val="3996"/>
              </a:lnSpc>
              <a:defRPr sz="3996">
                <a:solidFill>
                  <a:schemeClr val="bg1"/>
                </a:solidFill>
                <a:highlight>
                  <a:srgbClr val="000000"/>
                </a:highlight>
              </a:defRPr>
            </a:lvl1pPr>
          </a:lstStyle>
          <a:p>
            <a:r>
              <a:rPr lang="es-ES" dirty="0"/>
              <a:t>Título portadilla</a:t>
            </a:r>
            <a:br>
              <a:rPr lang="es-ES" dirty="0"/>
            </a:br>
            <a:r>
              <a:rPr lang="es-ES" dirty="0"/>
              <a:t>Máximo 3 líneas</a:t>
            </a:r>
            <a:br>
              <a:rPr lang="es-ES" dirty="0"/>
            </a:br>
            <a:r>
              <a:rPr lang="es-ES" dirty="0"/>
              <a:t>Arial Bold – 40 puntos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8120765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ort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3 Objeto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5" y="0"/>
          <a:ext cx="21169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87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4" name="3 Objeto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5" y="0"/>
                        <a:ext cx="211695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Imagen 5" descr="Imagen que contiene nombre de la empresa&#10;&#10;Descripción generada automáticamente">
            <a:extLst>
              <a:ext uri="{FF2B5EF4-FFF2-40B4-BE49-F238E27FC236}">
                <a16:creationId xmlns:a16="http://schemas.microsoft.com/office/drawing/2014/main" xmlns="" id="{20A0342B-5805-5D44-B673-DB8532F5CEE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45063" y="2468884"/>
            <a:ext cx="2541827" cy="19202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990196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926" userDrawn="1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 portada con vide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B0334AC3-1221-0D47-8376-248BE6D996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93" y="1596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215" name="Diapositiva de think-cell" r:id="rId5" imgW="7772400" imgH="10058400" progId="TCLayout.ActiveDocument.1">
                  <p:embed/>
                </p:oleObj>
              </mc:Choice>
              <mc:Fallback>
                <p:oleObj name="Diapositiva de think-cell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3" y="1596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Asociación Chilena de Seguridad…">
            <a:extLst>
              <a:ext uri="{FF2B5EF4-FFF2-40B4-BE49-F238E27FC236}">
                <a16:creationId xmlns:a16="http://schemas.microsoft.com/office/drawing/2014/main" xmlns="" id="{FF98E1B1-3B0B-3241-93AC-BE8D1054EBCA}"/>
              </a:ext>
            </a:extLst>
          </p:cNvPr>
          <p:cNvSpPr txBox="1"/>
          <p:nvPr userDrawn="1"/>
        </p:nvSpPr>
        <p:spPr>
          <a:xfrm>
            <a:off x="10800471" y="5528099"/>
            <a:ext cx="1039798" cy="64633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anchor="ctr">
            <a:spAutoFit/>
          </a:bodyPr>
          <a:lstStyle/>
          <a:p>
            <a:pPr>
              <a:spcBef>
                <a:spcPts val="600"/>
              </a:spcBef>
              <a:defRPr sz="3000" b="1">
                <a:solidFill>
                  <a:srgbClr val="79B02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sz="1400" b="1" dirty="0" err="1">
                <a:solidFill>
                  <a:srgbClr val="0C662F"/>
                </a:solidFill>
                <a:ea typeface="Arial"/>
                <a:cs typeface="Arial"/>
                <a:sym typeface="Arial"/>
              </a:rPr>
              <a:t>Asociación</a:t>
            </a:r>
            <a:r>
              <a:rPr sz="1400" b="1" dirty="0">
                <a:solidFill>
                  <a:srgbClr val="0C662F"/>
                </a:solidFill>
                <a:ea typeface="Arial"/>
                <a:cs typeface="Arial"/>
                <a:sym typeface="Arial"/>
              </a:rPr>
              <a:t> </a:t>
            </a:r>
            <a:r>
              <a:rPr sz="1400" b="1" dirty="0" err="1">
                <a:solidFill>
                  <a:srgbClr val="0C662F"/>
                </a:solidFill>
                <a:ea typeface="Arial"/>
                <a:cs typeface="Arial"/>
                <a:sym typeface="Arial"/>
              </a:rPr>
              <a:t>Chilena</a:t>
            </a:r>
            <a:r>
              <a:rPr sz="1400" b="1" dirty="0">
                <a:solidFill>
                  <a:srgbClr val="0C662F"/>
                </a:solidFill>
                <a:ea typeface="Arial"/>
                <a:cs typeface="Arial"/>
                <a:sym typeface="Arial"/>
              </a:rPr>
              <a:t> de </a:t>
            </a:r>
            <a:r>
              <a:rPr sz="1400" b="1" dirty="0" err="1">
                <a:solidFill>
                  <a:srgbClr val="0C662F"/>
                </a:solidFill>
                <a:ea typeface="Arial"/>
                <a:cs typeface="Arial"/>
                <a:sym typeface="Arial"/>
              </a:rPr>
              <a:t>Seguridad</a:t>
            </a:r>
            <a:endParaRPr sz="1400" b="1" dirty="0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xmlns="" id="{E516A13A-EE62-714D-B8F2-66374C530E65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940072" y="452446"/>
            <a:ext cx="796330" cy="796227"/>
          </a:xfrm>
          <a:prstGeom prst="rect">
            <a:avLst/>
          </a:prstGeom>
        </p:spPr>
      </p:pic>
      <p:sp>
        <p:nvSpPr>
          <p:cNvPr id="3" name="Marcador de medios 2">
            <a:extLst>
              <a:ext uri="{FF2B5EF4-FFF2-40B4-BE49-F238E27FC236}">
                <a16:creationId xmlns:a16="http://schemas.microsoft.com/office/drawing/2014/main" xmlns="" id="{C973E70C-A82E-2D4A-9356-A6B7BEB2D9E7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10453461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 dirty="0"/>
              <a:t>Doble click para incorporar un video</a:t>
            </a:r>
          </a:p>
        </p:txBody>
      </p:sp>
      <p:sp>
        <p:nvSpPr>
          <p:cNvPr id="16" name="Título 1">
            <a:extLst>
              <a:ext uri="{FF2B5EF4-FFF2-40B4-BE49-F238E27FC236}">
                <a16:creationId xmlns:a16="http://schemas.microsoft.com/office/drawing/2014/main" xmlns="" id="{D10FCCA8-322A-C443-B02C-264CC9F3E5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151" y="1268421"/>
            <a:ext cx="5918660" cy="2021853"/>
          </a:xfrm>
          <a:prstGeom prst="rect">
            <a:avLst/>
          </a:prstGeom>
        </p:spPr>
        <p:txBody>
          <a:bodyPr/>
          <a:lstStyle>
            <a:lvl1pPr>
              <a:lnSpc>
                <a:spcPts val="3996"/>
              </a:lnSpc>
              <a:defRPr sz="3996">
                <a:solidFill>
                  <a:schemeClr val="bg1"/>
                </a:solidFill>
                <a:highlight>
                  <a:srgbClr val="C98539"/>
                </a:highlight>
              </a:defRPr>
            </a:lvl1pPr>
          </a:lstStyle>
          <a:p>
            <a:r>
              <a:rPr lang="es-ES" dirty="0"/>
              <a:t>Título presentación</a:t>
            </a:r>
            <a:br>
              <a:rPr lang="es-ES" dirty="0"/>
            </a:br>
            <a:r>
              <a:rPr lang="es-ES" dirty="0"/>
              <a:t>Máximo 3 líneas</a:t>
            </a:r>
            <a:br>
              <a:rPr lang="es-ES" dirty="0"/>
            </a:br>
            <a:r>
              <a:rPr lang="es-ES" dirty="0"/>
              <a:t>Arial Bold – 40 puntos</a:t>
            </a:r>
            <a:endParaRPr lang="es-CL" dirty="0"/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xmlns="" id="{E34CFCBD-6BB7-F648-9E9C-2744D15597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800471" y="6307032"/>
            <a:ext cx="1039798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Fecha</a:t>
            </a:r>
            <a:endParaRPr lang="es-CL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90268929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17" userDrawn="1">
          <p15:clr>
            <a:srgbClr val="FBAE40"/>
          </p15:clr>
        </p15:guide>
        <p15:guide id="2" orient="horz" pos="609" userDrawn="1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 portada con fot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 descr="Imagen que contiene fábrica, exterior, moto acuática, edificio&#10;&#10;Descripción generada automáticamente">
            <a:extLst>
              <a:ext uri="{FF2B5EF4-FFF2-40B4-BE49-F238E27FC236}">
                <a16:creationId xmlns:a16="http://schemas.microsoft.com/office/drawing/2014/main" xmlns="" id="{524F57FB-FFCF-3249-91AB-3A11BFDD261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alphaModFix amt="8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419" r="5852"/>
          <a:stretch/>
        </p:blipFill>
        <p:spPr>
          <a:xfrm>
            <a:off x="0" y="0"/>
            <a:ext cx="10453461" cy="6858000"/>
          </a:xfrm>
          <a:prstGeom prst="rect">
            <a:avLst/>
          </a:prstGeom>
        </p:spPr>
      </p:pic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93" y="1596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239" name="Diapositiva de think-cell" r:id="rId6" imgW="7772400" imgH="10058400" progId="TCLayout.ActiveDocument.1">
                  <p:embed/>
                </p:oleObj>
              </mc:Choice>
              <mc:Fallback>
                <p:oleObj name="Diapositiva de think-cell" r:id="rId6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3" y="1596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Asociación Chilena de Seguridad…">
            <a:extLst>
              <a:ext uri="{FF2B5EF4-FFF2-40B4-BE49-F238E27FC236}">
                <a16:creationId xmlns:a16="http://schemas.microsoft.com/office/drawing/2014/main" xmlns="" id="{FF98E1B1-3B0B-3241-93AC-BE8D1054EBCA}"/>
              </a:ext>
            </a:extLst>
          </p:cNvPr>
          <p:cNvSpPr txBox="1"/>
          <p:nvPr userDrawn="1"/>
        </p:nvSpPr>
        <p:spPr>
          <a:xfrm>
            <a:off x="10693091" y="5859192"/>
            <a:ext cx="1079870" cy="64633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 anchor="ctr">
            <a:spAutoFit/>
          </a:bodyPr>
          <a:lstStyle/>
          <a:p>
            <a:pPr>
              <a:spcBef>
                <a:spcPts val="600"/>
              </a:spcBef>
              <a:defRPr sz="3000" b="1">
                <a:solidFill>
                  <a:srgbClr val="79B02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sz="1400" b="1" dirty="0" err="1">
                <a:solidFill>
                  <a:srgbClr val="106737"/>
                </a:solidFill>
                <a:ea typeface="Arial"/>
                <a:cs typeface="Arial"/>
                <a:sym typeface="Arial"/>
              </a:rPr>
              <a:t>Asociación</a:t>
            </a:r>
            <a:r>
              <a:rPr sz="1400" b="1" dirty="0">
                <a:solidFill>
                  <a:srgbClr val="106737"/>
                </a:solidFill>
                <a:ea typeface="Arial"/>
                <a:cs typeface="Arial"/>
                <a:sym typeface="Arial"/>
              </a:rPr>
              <a:t> </a:t>
            </a:r>
            <a:r>
              <a:rPr sz="1400" b="1" dirty="0" err="1">
                <a:solidFill>
                  <a:srgbClr val="106737"/>
                </a:solidFill>
                <a:ea typeface="Arial"/>
                <a:cs typeface="Arial"/>
                <a:sym typeface="Arial"/>
              </a:rPr>
              <a:t>Chilena</a:t>
            </a:r>
            <a:r>
              <a:rPr sz="1400" b="1" dirty="0">
                <a:solidFill>
                  <a:srgbClr val="106737"/>
                </a:solidFill>
                <a:ea typeface="Arial"/>
                <a:cs typeface="Arial"/>
                <a:sym typeface="Arial"/>
              </a:rPr>
              <a:t> de </a:t>
            </a:r>
            <a:r>
              <a:rPr sz="1400" b="1" dirty="0" err="1">
                <a:solidFill>
                  <a:srgbClr val="106737"/>
                </a:solidFill>
                <a:ea typeface="Arial"/>
                <a:cs typeface="Arial"/>
                <a:sym typeface="Arial"/>
              </a:rPr>
              <a:t>Seguridad</a:t>
            </a:r>
            <a:endParaRPr sz="1400" b="1" dirty="0">
              <a:solidFill>
                <a:srgbClr val="106737"/>
              </a:solidFill>
              <a:ea typeface="Arial"/>
              <a:cs typeface="Arial"/>
              <a:sym typeface="Arial"/>
            </a:endParaRPr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xmlns="" id="{E516A13A-EE62-714D-B8F2-66374C530E65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940072" y="452446"/>
            <a:ext cx="796330" cy="796227"/>
          </a:xfrm>
          <a:prstGeom prst="rect">
            <a:avLst/>
          </a:prstGeom>
        </p:spPr>
      </p:pic>
      <p:sp>
        <p:nvSpPr>
          <p:cNvPr id="8" name="Marcador de texto 7">
            <a:extLst>
              <a:ext uri="{FF2B5EF4-FFF2-40B4-BE49-F238E27FC236}">
                <a16:creationId xmlns:a16="http://schemas.microsoft.com/office/drawing/2014/main" xmlns="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7191" y="6260414"/>
            <a:ext cx="1039798" cy="3968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rgbClr val="106737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Fecha</a:t>
            </a:r>
            <a:endParaRPr lang="es-CL" dirty="0"/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xmlns="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7191" y="1280013"/>
            <a:ext cx="5639607" cy="194269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3996"/>
              </a:lnSpc>
              <a:spcBef>
                <a:spcPts val="0"/>
              </a:spcBef>
              <a:buNone/>
              <a:defRPr sz="3996" b="1">
                <a:solidFill>
                  <a:schemeClr val="accent2"/>
                </a:solidFill>
                <a:highlight>
                  <a:srgbClr val="106737"/>
                </a:highlight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presentación</a:t>
            </a:r>
          </a:p>
          <a:p>
            <a:pPr lvl="0"/>
            <a:r>
              <a:rPr lang="es-ES" dirty="0"/>
              <a:t>Máximo 3 líneas</a:t>
            </a:r>
          </a:p>
          <a:p>
            <a:pPr lvl="0"/>
            <a:r>
              <a:rPr lang="es-ES" dirty="0"/>
              <a:t>Arial Bold – 40 puntos</a:t>
            </a:r>
            <a:endParaRPr lang="es-CL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2938853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1" pos="5017" userDrawn="1">
          <p15:clr>
            <a:srgbClr val="FBAE40"/>
          </p15:clr>
        </p15:guide>
        <p15:guide id="2" pos="5125" userDrawn="1">
          <p15:clr>
            <a:srgbClr val="FBAE40"/>
          </p15:clr>
        </p15:guide>
        <p15:guide id="3" orient="horz" pos="3176" userDrawn="1">
          <p15:clr>
            <a:srgbClr val="FBAE40"/>
          </p15:clr>
        </p15:guide>
        <p15:guide id="4" orient="horz" pos="609" userDrawn="1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5 portada con patron">
    <p:bg>
      <p:bgPr>
        <a:solidFill>
          <a:schemeClr val="bg1">
            <a:lumMod val="95000"/>
            <a:alpha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 descr="Patrón de fondo&#10;&#10;Descripción generada automáticamente">
            <a:extLst>
              <a:ext uri="{FF2B5EF4-FFF2-40B4-BE49-F238E27FC236}">
                <a16:creationId xmlns:a16="http://schemas.microsoft.com/office/drawing/2014/main" xmlns="" id="{0CF543EF-BC20-D44B-8976-CAF21AF152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7130" r="6404"/>
          <a:stretch/>
        </p:blipFill>
        <p:spPr>
          <a:xfrm>
            <a:off x="1" y="0"/>
            <a:ext cx="12193588" cy="6858000"/>
          </a:xfrm>
          <a:prstGeom prst="rect">
            <a:avLst/>
          </a:prstGeom>
        </p:spPr>
      </p:pic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93" y="1596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263" name="Diapositiva de think-cell" r:id="rId6" imgW="7772400" imgH="10058400" progId="TCLayout.ActiveDocument.1">
                  <p:embed/>
                </p:oleObj>
              </mc:Choice>
              <mc:Fallback>
                <p:oleObj name="Diapositiva de think-cell" r:id="rId6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3" y="1596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Asociación Chilena de Seguridad…">
            <a:extLst>
              <a:ext uri="{FF2B5EF4-FFF2-40B4-BE49-F238E27FC236}">
                <a16:creationId xmlns:a16="http://schemas.microsoft.com/office/drawing/2014/main" xmlns="" id="{FF98E1B1-3B0B-3241-93AC-BE8D1054EBCA}"/>
              </a:ext>
            </a:extLst>
          </p:cNvPr>
          <p:cNvSpPr txBox="1"/>
          <p:nvPr userDrawn="1"/>
        </p:nvSpPr>
        <p:spPr>
          <a:xfrm>
            <a:off x="10762327" y="5528098"/>
            <a:ext cx="1144855" cy="64633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 anchor="ctr">
            <a:spAutoFit/>
          </a:bodyPr>
          <a:lstStyle/>
          <a:p>
            <a:pPr>
              <a:spcBef>
                <a:spcPts val="600"/>
              </a:spcBef>
              <a:defRPr sz="3000" b="1">
                <a:solidFill>
                  <a:srgbClr val="79B02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sz="1400" b="1" dirty="0" err="1">
                <a:solidFill>
                  <a:srgbClr val="83B727"/>
                </a:solidFill>
                <a:ea typeface="Arial"/>
                <a:cs typeface="Arial"/>
                <a:sym typeface="Arial"/>
              </a:rPr>
              <a:t>Asociación</a:t>
            </a:r>
            <a:r>
              <a:rPr sz="1400" b="1" dirty="0">
                <a:solidFill>
                  <a:srgbClr val="83B727"/>
                </a:solidFill>
                <a:ea typeface="Arial"/>
                <a:cs typeface="Arial"/>
                <a:sym typeface="Arial"/>
              </a:rPr>
              <a:t> </a:t>
            </a:r>
            <a:r>
              <a:rPr sz="1400" b="1" dirty="0" err="1">
                <a:solidFill>
                  <a:srgbClr val="83B727"/>
                </a:solidFill>
                <a:ea typeface="Arial"/>
                <a:cs typeface="Arial"/>
                <a:sym typeface="Arial"/>
              </a:rPr>
              <a:t>Chilena</a:t>
            </a:r>
            <a:r>
              <a:rPr sz="1400" b="1" dirty="0">
                <a:solidFill>
                  <a:srgbClr val="83B727"/>
                </a:solidFill>
                <a:ea typeface="Arial"/>
                <a:cs typeface="Arial"/>
                <a:sym typeface="Arial"/>
              </a:rPr>
              <a:t> de </a:t>
            </a:r>
            <a:r>
              <a:rPr sz="1400" b="1" dirty="0" err="1">
                <a:solidFill>
                  <a:srgbClr val="83B727"/>
                </a:solidFill>
                <a:ea typeface="Arial"/>
                <a:cs typeface="Arial"/>
                <a:sym typeface="Arial"/>
              </a:rPr>
              <a:t>Seguridad</a:t>
            </a:r>
            <a:endParaRPr sz="1400" b="1" dirty="0">
              <a:solidFill>
                <a:srgbClr val="83B727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xmlns="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762331" y="6307032"/>
            <a:ext cx="1193703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Fecha</a:t>
            </a:r>
            <a:endParaRPr lang="es-CL" dirty="0"/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xmlns="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7191" y="1160463"/>
            <a:ext cx="5639607" cy="279822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3996"/>
              </a:lnSpc>
              <a:spcBef>
                <a:spcPts val="0"/>
              </a:spcBef>
              <a:buNone/>
              <a:defRPr sz="3996" b="1">
                <a:solidFill>
                  <a:schemeClr val="accent3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presentación</a:t>
            </a:r>
          </a:p>
          <a:p>
            <a:pPr lvl="0"/>
            <a:r>
              <a:rPr lang="es-ES" dirty="0"/>
              <a:t>Máximo 3 líneas</a:t>
            </a:r>
          </a:p>
          <a:p>
            <a:pPr lvl="0"/>
            <a:r>
              <a:rPr lang="es-ES" dirty="0"/>
              <a:t>Arial Bold – 40 puntos</a:t>
            </a:r>
            <a:endParaRPr lang="es-CL" dirty="0"/>
          </a:p>
        </p:txBody>
      </p:sp>
      <p:pic>
        <p:nvPicPr>
          <p:cNvPr id="15" name="Imagen 14">
            <a:extLst>
              <a:ext uri="{FF2B5EF4-FFF2-40B4-BE49-F238E27FC236}">
                <a16:creationId xmlns:a16="http://schemas.microsoft.com/office/drawing/2014/main" xmlns="" id="{46A82000-D5F4-8949-BD2C-BDC53F0D9503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1145157" y="550984"/>
            <a:ext cx="591248" cy="591171"/>
          </a:xfrm>
          <a:prstGeom prst="rect">
            <a:avLst/>
          </a:prstGeom>
        </p:spPr>
      </p:pic>
      <p:sp>
        <p:nvSpPr>
          <p:cNvPr id="3" name="CuadroTexto 2">
            <a:extLst>
              <a:ext uri="{FF2B5EF4-FFF2-40B4-BE49-F238E27FC236}">
                <a16:creationId xmlns:a16="http://schemas.microsoft.com/office/drawing/2014/main" xmlns="" id="{E3E943E2-2E14-7347-9CE0-C80FFE6C2A3C}"/>
              </a:ext>
            </a:extLst>
          </p:cNvPr>
          <p:cNvSpPr txBox="1"/>
          <p:nvPr userDrawn="1"/>
        </p:nvSpPr>
        <p:spPr>
          <a:xfrm>
            <a:off x="-847603" y="2372398"/>
            <a:ext cx="274007" cy="134378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747" tIns="50747" rIns="50747" bIns="50747" numCol="1" spcCol="38100" rtlCol="0" anchor="ctr">
            <a:spAutoFit/>
          </a:bodyPr>
          <a:lstStyle/>
          <a:p>
            <a:pPr defTabSz="2435572" hangingPunct="0">
              <a:lnSpc>
                <a:spcPct val="90000"/>
              </a:lnSpc>
              <a:spcBef>
                <a:spcPts val="4496"/>
              </a:spcBef>
            </a:pPr>
            <a:r>
              <a:rPr lang="es-CL" sz="4796" dirty="0">
                <a:solidFill>
                  <a:srgbClr val="000000"/>
                </a:solidFill>
                <a:sym typeface="Helvetica Neue"/>
              </a:rPr>
              <a:t> </a:t>
            </a: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xmlns="" id="{C97B8F6C-6316-0B49-B9D2-1DCA59C9539E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7527669" y="3662905"/>
            <a:ext cx="2925793" cy="279822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670179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1" pos="5017" userDrawn="1">
          <p15:clr>
            <a:srgbClr val="FBAE40"/>
          </p15:clr>
        </p15:guide>
        <p15:guide id="2" orient="horz" pos="557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xmlns="" id="{C0B972A3-E7F3-0A4F-BEE6-2EE7AC84380C}"/>
              </a:ext>
            </a:extLst>
          </p:cNvPr>
          <p:cNvSpPr/>
          <p:nvPr userDrawn="1"/>
        </p:nvSpPr>
        <p:spPr>
          <a:xfrm>
            <a:off x="1" y="0"/>
            <a:ext cx="12193588" cy="6858000"/>
          </a:xfrm>
          <a:prstGeom prst="rect">
            <a:avLst/>
          </a:prstGeom>
          <a:solidFill>
            <a:srgbClr val="FDBF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797" dirty="0"/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xmlns="" id="{18404275-C21C-B344-92AA-B363C5F8F24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cxnSp>
        <p:nvCxnSpPr>
          <p:cNvPr id="12" name="Conector recto 11">
            <a:extLst>
              <a:ext uri="{FF2B5EF4-FFF2-40B4-BE49-F238E27FC236}">
                <a16:creationId xmlns:a16="http://schemas.microsoft.com/office/drawing/2014/main" xmlns="" id="{2E94A797-3320-F543-B24F-6FE8F5A4A301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rgbClr val="0D693C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4164502474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6 portada con patron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:a16="http://schemas.microsoft.com/office/drawing/2014/main" xmlns="" id="{99B42066-7866-0240-9F49-E05D36DA944D}"/>
              </a:ext>
            </a:extLst>
          </p:cNvPr>
          <p:cNvSpPr/>
          <p:nvPr userDrawn="1"/>
        </p:nvSpPr>
        <p:spPr>
          <a:xfrm>
            <a:off x="8675230" y="3120437"/>
            <a:ext cx="3428896" cy="59428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747" tIns="50747" rIns="50747" bIns="50747" numCol="1" spcCol="38100" rtlCol="0" anchor="ctr">
            <a:spAutoFit/>
          </a:bodyPr>
          <a:lstStyle/>
          <a:p>
            <a:pPr algn="ctr" defTabSz="824562" hangingPunct="0"/>
            <a:endParaRPr lang="es-ES_tradnl" sz="3196" dirty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93" y="1596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9287" name="Diapositiva de think-cell" r:id="rId5" imgW="7772400" imgH="10058400" progId="TCLayout.ActiveDocument.1">
                  <p:embed/>
                </p:oleObj>
              </mc:Choice>
              <mc:Fallback>
                <p:oleObj name="Diapositiva de think-cell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3" y="1596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Asociación Chilena de Seguridad…">
            <a:extLst>
              <a:ext uri="{FF2B5EF4-FFF2-40B4-BE49-F238E27FC236}">
                <a16:creationId xmlns:a16="http://schemas.microsoft.com/office/drawing/2014/main" xmlns="" id="{FF98E1B1-3B0B-3241-93AC-BE8D1054EBCA}"/>
              </a:ext>
            </a:extLst>
          </p:cNvPr>
          <p:cNvSpPr txBox="1"/>
          <p:nvPr userDrawn="1"/>
        </p:nvSpPr>
        <p:spPr>
          <a:xfrm>
            <a:off x="8999042" y="5635821"/>
            <a:ext cx="2030954" cy="43088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anchor="ctr">
            <a:spAutoFit/>
          </a:bodyPr>
          <a:lstStyle/>
          <a:p>
            <a:pPr>
              <a:spcBef>
                <a:spcPts val="600"/>
              </a:spcBef>
              <a:defRPr sz="3000" b="1">
                <a:solidFill>
                  <a:srgbClr val="79B02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sz="1400" b="1" dirty="0" err="1">
                <a:solidFill>
                  <a:srgbClr val="00857D"/>
                </a:solidFill>
                <a:ea typeface="Arial"/>
                <a:cs typeface="Arial"/>
                <a:sym typeface="Arial"/>
              </a:rPr>
              <a:t>Asociación</a:t>
            </a:r>
            <a:r>
              <a:rPr sz="1400" b="1" dirty="0">
                <a:solidFill>
                  <a:srgbClr val="00857D"/>
                </a:solidFill>
                <a:ea typeface="Arial"/>
                <a:cs typeface="Arial"/>
                <a:sym typeface="Arial"/>
              </a:rPr>
              <a:t> </a:t>
            </a:r>
            <a:r>
              <a:rPr sz="1400" b="1" dirty="0" err="1">
                <a:solidFill>
                  <a:srgbClr val="00857D"/>
                </a:solidFill>
                <a:ea typeface="Arial"/>
                <a:cs typeface="Arial"/>
                <a:sym typeface="Arial"/>
              </a:rPr>
              <a:t>Chilena</a:t>
            </a:r>
            <a:r>
              <a:rPr sz="1400" b="1" dirty="0">
                <a:solidFill>
                  <a:srgbClr val="00857D"/>
                </a:solidFill>
                <a:ea typeface="Arial"/>
                <a:cs typeface="Arial"/>
                <a:sym typeface="Arial"/>
              </a:rPr>
              <a:t> de </a:t>
            </a:r>
            <a:r>
              <a:rPr sz="1400" b="1" dirty="0" err="1">
                <a:solidFill>
                  <a:srgbClr val="00857D"/>
                </a:solidFill>
                <a:ea typeface="Arial"/>
                <a:cs typeface="Arial"/>
                <a:sym typeface="Arial"/>
              </a:rPr>
              <a:t>Seguridad</a:t>
            </a:r>
            <a:endParaRPr sz="1400" b="1" dirty="0">
              <a:solidFill>
                <a:srgbClr val="00857D"/>
              </a:solidFill>
              <a:ea typeface="Arial"/>
              <a:cs typeface="Arial"/>
              <a:sym typeface="Arial"/>
            </a:endParaRPr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xmlns="" id="{E516A13A-EE62-714D-B8F2-66374C530E65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1145157" y="550984"/>
            <a:ext cx="591248" cy="591171"/>
          </a:xfrm>
          <a:prstGeom prst="rect">
            <a:avLst/>
          </a:prstGeom>
        </p:spPr>
      </p:pic>
      <p:sp>
        <p:nvSpPr>
          <p:cNvPr id="8" name="Marcador de texto 7">
            <a:extLst>
              <a:ext uri="{FF2B5EF4-FFF2-40B4-BE49-F238E27FC236}">
                <a16:creationId xmlns:a16="http://schemas.microsoft.com/office/drawing/2014/main" xmlns="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999038" y="6298305"/>
            <a:ext cx="1039798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Fecha</a:t>
            </a:r>
            <a:endParaRPr lang="es-CL" dirty="0"/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xmlns="" id="{35C4F852-544B-1A44-835E-3F7740F060ED}"/>
              </a:ext>
            </a:extLst>
          </p:cNvPr>
          <p:cNvSpPr/>
          <p:nvPr userDrawn="1"/>
        </p:nvSpPr>
        <p:spPr>
          <a:xfrm>
            <a:off x="89463" y="69580"/>
            <a:ext cx="8498095" cy="6696001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747" tIns="50747" rIns="50747" bIns="50747" numCol="1" spcCol="38100" rtlCol="0" anchor="ctr">
            <a:noAutofit/>
          </a:bodyPr>
          <a:lstStyle/>
          <a:p>
            <a:pPr algn="ctr" defTabSz="824562" hangingPunct="0"/>
            <a:endParaRPr lang="es-ES_tradnl" sz="3196" dirty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xmlns="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6624" y="1160463"/>
            <a:ext cx="5660174" cy="202878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3996"/>
              </a:lnSpc>
              <a:spcBef>
                <a:spcPts val="0"/>
              </a:spcBef>
              <a:buNone/>
              <a:defRPr sz="3996" b="1">
                <a:solidFill>
                  <a:schemeClr val="accent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presentación</a:t>
            </a:r>
          </a:p>
          <a:p>
            <a:pPr lvl="0"/>
            <a:r>
              <a:rPr lang="es-ES" dirty="0"/>
              <a:t>Máximo 3 líneas</a:t>
            </a:r>
          </a:p>
          <a:p>
            <a:pPr lvl="0"/>
            <a:r>
              <a:rPr lang="es-ES" dirty="0"/>
              <a:t>Arial Bold – 40 puntos</a:t>
            </a:r>
            <a:endParaRPr lang="es-CL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277897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1" pos="5017" userDrawn="1">
          <p15:clr>
            <a:srgbClr val="FBAE40"/>
          </p15:clr>
        </p15:guide>
        <p15:guide id="2" orient="horz" pos="557" userDrawn="1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7 portada sim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3" y="1596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311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3" y="1596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7">
            <a:extLst>
              <a:ext uri="{FF2B5EF4-FFF2-40B4-BE49-F238E27FC236}">
                <a16:creationId xmlns:a16="http://schemas.microsoft.com/office/drawing/2014/main" xmlns="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9940" y="6231252"/>
            <a:ext cx="5320694" cy="5043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Fecha</a:t>
            </a:r>
            <a:endParaRPr lang="es-CL" dirty="0"/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xmlns="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8790" y="3746811"/>
            <a:ext cx="5602152" cy="1753422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3996"/>
              </a:lnSpc>
              <a:spcBef>
                <a:spcPts val="0"/>
              </a:spcBef>
              <a:buNone/>
              <a:defRPr sz="3996" b="1">
                <a:solidFill>
                  <a:schemeClr val="accent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presentación</a:t>
            </a:r>
          </a:p>
          <a:p>
            <a:pPr lvl="0"/>
            <a:r>
              <a:rPr lang="es-ES" dirty="0"/>
              <a:t>Máximo 3 líneas</a:t>
            </a:r>
          </a:p>
          <a:p>
            <a:pPr lvl="0"/>
            <a:r>
              <a:rPr lang="es-ES" dirty="0"/>
              <a:t>Arial Bold – 40 puntos</a:t>
            </a:r>
            <a:endParaRPr lang="es-CL" dirty="0"/>
          </a:p>
        </p:txBody>
      </p:sp>
      <p:cxnSp>
        <p:nvCxnSpPr>
          <p:cNvPr id="11" name="Conector recto 10">
            <a:extLst>
              <a:ext uri="{FF2B5EF4-FFF2-40B4-BE49-F238E27FC236}">
                <a16:creationId xmlns:a16="http://schemas.microsoft.com/office/drawing/2014/main" xmlns="" id="{AAD3EDA4-60A2-6D48-8A60-78FAD23C1DE5}"/>
              </a:ext>
            </a:extLst>
          </p:cNvPr>
          <p:cNvCxnSpPr>
            <a:cxnSpLocks/>
          </p:cNvCxnSpPr>
          <p:nvPr userDrawn="1"/>
        </p:nvCxnSpPr>
        <p:spPr>
          <a:xfrm>
            <a:off x="448656" y="3746818"/>
            <a:ext cx="0" cy="3140655"/>
          </a:xfrm>
          <a:prstGeom prst="line">
            <a:avLst/>
          </a:prstGeom>
          <a:noFill/>
          <a:ln w="25400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7" name="Imagen 6">
            <a:extLst>
              <a:ext uri="{FF2B5EF4-FFF2-40B4-BE49-F238E27FC236}">
                <a16:creationId xmlns:a16="http://schemas.microsoft.com/office/drawing/2014/main" xmlns="" id="{47DA58F1-71B8-AB43-90F7-8300E93C922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25471" y="550984"/>
            <a:ext cx="591248" cy="591171"/>
          </a:xfrm>
          <a:prstGeom prst="rect">
            <a:avLst/>
          </a:prstGeom>
        </p:spPr>
      </p:pic>
      <p:sp>
        <p:nvSpPr>
          <p:cNvPr id="5" name="Marcador de posición de imagen 4">
            <a:extLst>
              <a:ext uri="{FF2B5EF4-FFF2-40B4-BE49-F238E27FC236}">
                <a16:creationId xmlns:a16="http://schemas.microsoft.com/office/drawing/2014/main" xmlns="" id="{0594BF77-0851-EB45-9E81-37B1FA31036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371950" y="0"/>
            <a:ext cx="4821637" cy="6858000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5814992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1" pos="5017" userDrawn="1">
          <p15:clr>
            <a:srgbClr val="FBAE40"/>
          </p15:clr>
        </p15:guide>
        <p15:guide id="2" pos="2736" userDrawn="1">
          <p15:clr>
            <a:srgbClr val="FBAE40"/>
          </p15:clr>
        </p15:guide>
        <p15:guide id="3" pos="2559" userDrawn="1">
          <p15:clr>
            <a:srgbClr val="FBAE40"/>
          </p15:clr>
        </p15:guide>
        <p15:guide id="4" orient="horz" pos="262" userDrawn="1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 blanco con log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xmlns="" id="{77718931-CD11-D846-99ED-DA7F8C29E6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3" y="1596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1335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3" y="1596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Imagen 2">
            <a:extLst>
              <a:ext uri="{FF2B5EF4-FFF2-40B4-BE49-F238E27FC236}">
                <a16:creationId xmlns:a16="http://schemas.microsoft.com/office/drawing/2014/main" xmlns="" id="{F0F13478-20D7-DB4D-8994-4442E9CD0E5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xmlns="" id="{8EDD70E6-9719-384C-98E1-944F830A10C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400" b="1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8A8A8A"/>
                </a:solidFill>
              </a:rPr>
              <a:pPr/>
              <a:t>‹Nº›</a:t>
            </a:fld>
            <a:endParaRPr lang="es-CL" dirty="0">
              <a:solidFill>
                <a:srgbClr val="8A8A8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388710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22" userDrawn="1">
          <p15:clr>
            <a:srgbClr val="FBAE40"/>
          </p15:clr>
        </p15:guide>
        <p15:guide id="2" orient="horz" pos="1179" userDrawn="1">
          <p15:clr>
            <a:srgbClr val="FBAE40"/>
          </p15:clr>
        </p15:guide>
        <p15:guide id="3" pos="939" userDrawn="1">
          <p15:clr>
            <a:srgbClr val="FBAE40"/>
          </p15:clr>
        </p15:guide>
        <p15:guide id="4" pos="2500" userDrawn="1">
          <p15:clr>
            <a:srgbClr val="FBAE40"/>
          </p15:clr>
        </p15:guide>
        <p15:guide id="5" pos="4068" userDrawn="1">
          <p15:clr>
            <a:srgbClr val="FBAE40"/>
          </p15:clr>
        </p15:guide>
        <p15:guide id="6" orient="horz" pos="2140" userDrawn="1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bjetivos 3 puntos">
    <p:bg>
      <p:bgPr>
        <a:solidFill>
          <a:schemeClr val="accent3">
            <a:lumMod val="20000"/>
            <a:lumOff val="80000"/>
            <a:alpha val="7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to 11" hidden="1">
            <a:extLst>
              <a:ext uri="{FF2B5EF4-FFF2-40B4-BE49-F238E27FC236}">
                <a16:creationId xmlns:a16="http://schemas.microsoft.com/office/drawing/2014/main" xmlns="" id="{5A6D60D2-2296-5945-875B-EFE4B97EFF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3" y="1596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2359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3" y="1596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Imagen 2">
            <a:extLst>
              <a:ext uri="{FF2B5EF4-FFF2-40B4-BE49-F238E27FC236}">
                <a16:creationId xmlns:a16="http://schemas.microsoft.com/office/drawing/2014/main" xmlns="" id="{F0F13478-20D7-DB4D-8994-4442E9CD0E5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13" name="Marcador de texto 7">
            <a:extLst>
              <a:ext uri="{FF2B5EF4-FFF2-40B4-BE49-F238E27FC236}">
                <a16:creationId xmlns:a16="http://schemas.microsoft.com/office/drawing/2014/main" xmlns="" id="{E2B3526A-E352-6B42-9A86-8AA9AFCEC94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44149" y="1753128"/>
            <a:ext cx="5362655" cy="75374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97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14" name="Marcador de texto 7">
            <a:extLst>
              <a:ext uri="{FF2B5EF4-FFF2-40B4-BE49-F238E27FC236}">
                <a16:creationId xmlns:a16="http://schemas.microsoft.com/office/drawing/2014/main" xmlns="" id="{1B703A3D-4A7A-A34D-8B38-7D59E6C8C68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44149" y="3543046"/>
            <a:ext cx="5362655" cy="75374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97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15" name="Marcador de texto 7">
            <a:extLst>
              <a:ext uri="{FF2B5EF4-FFF2-40B4-BE49-F238E27FC236}">
                <a16:creationId xmlns:a16="http://schemas.microsoft.com/office/drawing/2014/main" xmlns="" id="{8D533A59-3325-A644-A68A-14B901EDBB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44149" y="5289304"/>
            <a:ext cx="5362655" cy="75374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97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20" name="Línea">
            <a:extLst>
              <a:ext uri="{FF2B5EF4-FFF2-40B4-BE49-F238E27FC236}">
                <a16:creationId xmlns:a16="http://schemas.microsoft.com/office/drawing/2014/main" xmlns="" id="{ACAFD732-0024-AB4A-B6C4-1C266EDA27A5}"/>
              </a:ext>
            </a:extLst>
          </p:cNvPr>
          <p:cNvSpPr/>
          <p:nvPr userDrawn="1"/>
        </p:nvSpPr>
        <p:spPr>
          <a:xfrm flipV="1">
            <a:off x="4890139" y="1855052"/>
            <a:ext cx="0" cy="5102340"/>
          </a:xfrm>
          <a:prstGeom prst="line">
            <a:avLst/>
          </a:prstGeom>
          <a:ln w="25400">
            <a:solidFill>
              <a:schemeClr val="tx1"/>
            </a:solidFill>
          </a:ln>
        </p:spPr>
        <p:txBody>
          <a:bodyPr lIns="22836" rIns="22836"/>
          <a:lstStyle/>
          <a:p>
            <a:pPr defTabSz="1217024">
              <a:defRPr>
                <a:latin typeface="Arial"/>
                <a:ea typeface="Arial"/>
                <a:cs typeface="Arial"/>
                <a:sym typeface="Arial"/>
              </a:defRPr>
            </a:pPr>
            <a:endParaRPr sz="1200" dirty="0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1" name="Círculo">
            <a:extLst>
              <a:ext uri="{FF2B5EF4-FFF2-40B4-BE49-F238E27FC236}">
                <a16:creationId xmlns:a16="http://schemas.microsoft.com/office/drawing/2014/main" xmlns="" id="{226E99C8-C103-A44C-975B-FAA291C5B817}"/>
              </a:ext>
            </a:extLst>
          </p:cNvPr>
          <p:cNvSpPr/>
          <p:nvPr userDrawn="1"/>
        </p:nvSpPr>
        <p:spPr>
          <a:xfrm>
            <a:off x="4826389" y="1808503"/>
            <a:ext cx="135641" cy="135624"/>
          </a:xfrm>
          <a:prstGeom prst="ellipse">
            <a:avLst/>
          </a:prstGeom>
          <a:solidFill>
            <a:schemeClr val="tx1"/>
          </a:solidFill>
          <a:ln w="25400">
            <a:noFill/>
            <a:miter lim="400000"/>
          </a:ln>
        </p:spPr>
        <p:txBody>
          <a:bodyPr lIns="25372" tIns="25372" rIns="25372" bIns="25372" anchor="ctr"/>
          <a:lstStyle/>
          <a:p>
            <a:pPr algn="ctr" defTabSz="412281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 b="1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2" name="Círculo">
            <a:extLst>
              <a:ext uri="{FF2B5EF4-FFF2-40B4-BE49-F238E27FC236}">
                <a16:creationId xmlns:a16="http://schemas.microsoft.com/office/drawing/2014/main" xmlns="" id="{6E4561DF-A601-CB46-8EC7-590DDB38AD6B}"/>
              </a:ext>
            </a:extLst>
          </p:cNvPr>
          <p:cNvSpPr/>
          <p:nvPr userDrawn="1"/>
        </p:nvSpPr>
        <p:spPr>
          <a:xfrm>
            <a:off x="4826389" y="3591818"/>
            <a:ext cx="135641" cy="135624"/>
          </a:xfrm>
          <a:prstGeom prst="ellipse">
            <a:avLst/>
          </a:prstGeom>
          <a:solidFill>
            <a:schemeClr val="tx1"/>
          </a:solidFill>
          <a:ln w="25400">
            <a:noFill/>
            <a:miter lim="400000"/>
          </a:ln>
        </p:spPr>
        <p:txBody>
          <a:bodyPr lIns="25372" tIns="25372" rIns="25372" bIns="25372" anchor="ctr"/>
          <a:lstStyle/>
          <a:p>
            <a:pPr algn="ctr" defTabSz="412281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 b="1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5" name="Círculo">
            <a:extLst>
              <a:ext uri="{FF2B5EF4-FFF2-40B4-BE49-F238E27FC236}">
                <a16:creationId xmlns:a16="http://schemas.microsoft.com/office/drawing/2014/main" xmlns="" id="{588AF64C-EC8A-E946-B69F-F94B0EDE600F}"/>
              </a:ext>
            </a:extLst>
          </p:cNvPr>
          <p:cNvSpPr/>
          <p:nvPr userDrawn="1"/>
        </p:nvSpPr>
        <p:spPr>
          <a:xfrm>
            <a:off x="4822322" y="5344706"/>
            <a:ext cx="135641" cy="135624"/>
          </a:xfrm>
          <a:prstGeom prst="ellipse">
            <a:avLst/>
          </a:prstGeom>
          <a:solidFill>
            <a:schemeClr val="tx1"/>
          </a:solidFill>
          <a:ln w="25400">
            <a:noFill/>
            <a:miter lim="400000"/>
          </a:ln>
        </p:spPr>
        <p:txBody>
          <a:bodyPr lIns="25372" tIns="25372" rIns="25372" bIns="25372" anchor="ctr"/>
          <a:lstStyle/>
          <a:p>
            <a:pPr algn="ctr" defTabSz="412281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 b="1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6" name="Marcador de número de diapositiva 1">
            <a:extLst>
              <a:ext uri="{FF2B5EF4-FFF2-40B4-BE49-F238E27FC236}">
                <a16:creationId xmlns:a16="http://schemas.microsoft.com/office/drawing/2014/main" xmlns="" id="{F73F49AB-4F17-0C44-8DE0-127845E9897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400" b="1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8A8A8A"/>
                </a:solidFill>
              </a:rPr>
              <a:pPr/>
              <a:t>‹Nº›</a:t>
            </a:fld>
            <a:endParaRPr lang="es-CL" dirty="0">
              <a:solidFill>
                <a:srgbClr val="8A8A8A"/>
              </a:solidFill>
            </a:endParaRPr>
          </a:p>
        </p:txBody>
      </p:sp>
      <p:sp>
        <p:nvSpPr>
          <p:cNvPr id="17" name="Título 1">
            <a:extLst>
              <a:ext uri="{FF2B5EF4-FFF2-40B4-BE49-F238E27FC236}">
                <a16:creationId xmlns:a16="http://schemas.microsoft.com/office/drawing/2014/main" xmlns="" id="{4E9B333E-F9E9-B640-822A-ECDF87BD77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9967" y="458787"/>
            <a:ext cx="9889036" cy="720000"/>
          </a:xfrm>
          <a:prstGeom prst="rect">
            <a:avLst/>
          </a:prstGeom>
        </p:spPr>
        <p:txBody>
          <a:bodyPr lIns="0" tIns="0" rIns="0" bIns="0"/>
          <a:lstStyle>
            <a:lvl1pPr marL="11102" indent="-1110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sz="2396">
                <a:solidFill>
                  <a:schemeClr val="bg2"/>
                </a:solidFill>
              </a:defRPr>
            </a:lvl1pPr>
          </a:lstStyle>
          <a:p>
            <a:r>
              <a:rPr lang="es-ES" dirty="0"/>
              <a:t>Título Arial</a:t>
            </a:r>
            <a:br>
              <a:rPr lang="es-ES" dirty="0"/>
            </a:br>
            <a:r>
              <a:rPr lang="es-ES" dirty="0"/>
              <a:t>Bold 24</a:t>
            </a:r>
            <a:endParaRPr lang="es-CL" dirty="0"/>
          </a:p>
        </p:txBody>
      </p:sp>
      <p:cxnSp>
        <p:nvCxnSpPr>
          <p:cNvPr id="18" name="Conector recto 17">
            <a:extLst>
              <a:ext uri="{FF2B5EF4-FFF2-40B4-BE49-F238E27FC236}">
                <a16:creationId xmlns:a16="http://schemas.microsoft.com/office/drawing/2014/main" xmlns="" id="{69FA0287-96F3-5D42-90E6-09CBE56BB314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408120840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926" userDrawn="1">
          <p15:clr>
            <a:srgbClr val="FBAE40"/>
          </p15:clr>
        </p15:guide>
        <p15:guide id="2" orient="horz" pos="1786" userDrawn="1">
          <p15:clr>
            <a:srgbClr val="FBAE40"/>
          </p15:clr>
        </p15:guide>
        <p15:guide id="3" orient="horz" pos="2570" userDrawn="1">
          <p15:clr>
            <a:srgbClr val="FBAE40"/>
          </p15:clr>
        </p15:guide>
        <p15:guide id="4" orient="horz" pos="2623" userDrawn="1">
          <p15:clr>
            <a:srgbClr val="FBAE40"/>
          </p15:clr>
        </p15:guide>
        <p15:guide id="5" orient="horz" pos="1732" userDrawn="1">
          <p15:clr>
            <a:srgbClr val="FBAE40"/>
          </p15:clr>
        </p15:guide>
        <p15:guide id="6" orient="horz" pos="873" userDrawn="1">
          <p15:clr>
            <a:srgbClr val="FBAE40"/>
          </p15:clr>
        </p15:guide>
        <p15:guide id="7" pos="2421" userDrawn="1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bjetivos 4 puntos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:a16="http://schemas.microsoft.com/office/drawing/2014/main" xmlns="" id="{8C5653FB-0B55-DF49-89A0-7BB644B8BB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3" y="1596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3383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3" y="1596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Línea">
            <a:extLst>
              <a:ext uri="{FF2B5EF4-FFF2-40B4-BE49-F238E27FC236}">
                <a16:creationId xmlns:a16="http://schemas.microsoft.com/office/drawing/2014/main" xmlns="" id="{832578E3-BC08-FD4F-8D2A-99D9B2768843}"/>
              </a:ext>
            </a:extLst>
          </p:cNvPr>
          <p:cNvSpPr/>
          <p:nvPr userDrawn="1"/>
        </p:nvSpPr>
        <p:spPr>
          <a:xfrm flipV="1">
            <a:off x="4890139" y="1855052"/>
            <a:ext cx="0" cy="5102340"/>
          </a:xfrm>
          <a:prstGeom prst="line">
            <a:avLst/>
          </a:prstGeom>
          <a:ln w="25400">
            <a:solidFill>
              <a:schemeClr val="tx1"/>
            </a:solidFill>
          </a:ln>
        </p:spPr>
        <p:txBody>
          <a:bodyPr lIns="22836" rIns="22836"/>
          <a:lstStyle/>
          <a:p>
            <a:pPr defTabSz="1217024">
              <a:defRPr>
                <a:latin typeface="Arial"/>
                <a:ea typeface="Arial"/>
                <a:cs typeface="Arial"/>
                <a:sym typeface="Arial"/>
              </a:defRPr>
            </a:pPr>
            <a:endParaRPr sz="1200" dirty="0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xmlns="" id="{F0F13478-20D7-DB4D-8994-4442E9CD0E5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4" name="Círculo">
            <a:extLst>
              <a:ext uri="{FF2B5EF4-FFF2-40B4-BE49-F238E27FC236}">
                <a16:creationId xmlns:a16="http://schemas.microsoft.com/office/drawing/2014/main" xmlns="" id="{BBD7799B-2501-484A-BE95-7AFA110DBA90}"/>
              </a:ext>
            </a:extLst>
          </p:cNvPr>
          <p:cNvSpPr/>
          <p:nvPr userDrawn="1"/>
        </p:nvSpPr>
        <p:spPr>
          <a:xfrm>
            <a:off x="4826389" y="1793189"/>
            <a:ext cx="135641" cy="135624"/>
          </a:xfrm>
          <a:prstGeom prst="ellipse">
            <a:avLst/>
          </a:prstGeom>
          <a:solidFill>
            <a:schemeClr val="tx1"/>
          </a:solidFill>
          <a:ln w="25400">
            <a:noFill/>
            <a:miter lim="400000"/>
          </a:ln>
        </p:spPr>
        <p:txBody>
          <a:bodyPr lIns="25372" tIns="25372" rIns="25372" bIns="25372" anchor="ctr"/>
          <a:lstStyle/>
          <a:p>
            <a:pPr algn="ctr" defTabSz="412281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 b="1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9" name="Marcador de texto 7">
            <a:extLst>
              <a:ext uri="{FF2B5EF4-FFF2-40B4-BE49-F238E27FC236}">
                <a16:creationId xmlns:a16="http://schemas.microsoft.com/office/drawing/2014/main" xmlns="" id="{3D05D424-30B2-7E47-9AB6-C83E1B90EA12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055923" y="1739605"/>
            <a:ext cx="5362655" cy="5043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97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8</a:t>
            </a:r>
            <a:endParaRPr lang="es-CL" dirty="0"/>
          </a:p>
        </p:txBody>
      </p:sp>
      <p:sp>
        <p:nvSpPr>
          <p:cNvPr id="20" name="Marcador de texto 7">
            <a:extLst>
              <a:ext uri="{FF2B5EF4-FFF2-40B4-BE49-F238E27FC236}">
                <a16:creationId xmlns:a16="http://schemas.microsoft.com/office/drawing/2014/main" xmlns="" id="{8893FAC1-DC9D-9440-985E-77B4520EBDFC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5055923" y="2988579"/>
            <a:ext cx="5362655" cy="5043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97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8</a:t>
            </a:r>
            <a:endParaRPr lang="es-CL" dirty="0"/>
          </a:p>
        </p:txBody>
      </p:sp>
      <p:sp>
        <p:nvSpPr>
          <p:cNvPr id="21" name="Marcador de texto 7">
            <a:extLst>
              <a:ext uri="{FF2B5EF4-FFF2-40B4-BE49-F238E27FC236}">
                <a16:creationId xmlns:a16="http://schemas.microsoft.com/office/drawing/2014/main" xmlns="" id="{1CDC6F2A-CD43-DC44-B35F-7AD48BD85D36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5055923" y="4220046"/>
            <a:ext cx="5362655" cy="5043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97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8</a:t>
            </a:r>
            <a:endParaRPr lang="es-CL" dirty="0"/>
          </a:p>
        </p:txBody>
      </p:sp>
      <p:sp>
        <p:nvSpPr>
          <p:cNvPr id="22" name="Marcador de texto 7">
            <a:extLst>
              <a:ext uri="{FF2B5EF4-FFF2-40B4-BE49-F238E27FC236}">
                <a16:creationId xmlns:a16="http://schemas.microsoft.com/office/drawing/2014/main" xmlns="" id="{2E8EE67D-954B-1E4C-87F1-A82DF7427D5B}"/>
              </a:ext>
            </a:extLst>
          </p:cNvPr>
          <p:cNvSpPr>
            <a:spLocks noGrp="1"/>
          </p:cNvSpPr>
          <p:nvPr userDrawn="1">
            <p:ph type="body" sz="quarter" idx="19" hasCustomPrompt="1"/>
          </p:nvPr>
        </p:nvSpPr>
        <p:spPr>
          <a:xfrm>
            <a:off x="5055923" y="5451514"/>
            <a:ext cx="5362655" cy="5043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97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8</a:t>
            </a:r>
            <a:endParaRPr lang="es-CL" dirty="0"/>
          </a:p>
        </p:txBody>
      </p:sp>
      <p:sp>
        <p:nvSpPr>
          <p:cNvPr id="26" name="Círculo">
            <a:extLst>
              <a:ext uri="{FF2B5EF4-FFF2-40B4-BE49-F238E27FC236}">
                <a16:creationId xmlns:a16="http://schemas.microsoft.com/office/drawing/2014/main" xmlns="" id="{26684165-1847-124A-8CE4-11A82C20E684}"/>
              </a:ext>
            </a:extLst>
          </p:cNvPr>
          <p:cNvSpPr/>
          <p:nvPr userDrawn="1"/>
        </p:nvSpPr>
        <p:spPr>
          <a:xfrm>
            <a:off x="4826389" y="3040100"/>
            <a:ext cx="135641" cy="135624"/>
          </a:xfrm>
          <a:prstGeom prst="ellipse">
            <a:avLst/>
          </a:prstGeom>
          <a:solidFill>
            <a:schemeClr val="tx1"/>
          </a:solidFill>
          <a:ln w="25400">
            <a:noFill/>
            <a:miter lim="400000"/>
          </a:ln>
        </p:spPr>
        <p:txBody>
          <a:bodyPr lIns="25372" tIns="25372" rIns="25372" bIns="25372" anchor="ctr"/>
          <a:lstStyle/>
          <a:p>
            <a:pPr algn="ctr" defTabSz="412281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 b="1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8" name="Círculo">
            <a:extLst>
              <a:ext uri="{FF2B5EF4-FFF2-40B4-BE49-F238E27FC236}">
                <a16:creationId xmlns:a16="http://schemas.microsoft.com/office/drawing/2014/main" xmlns="" id="{74EA298D-42E8-344C-8163-3E74A5E92824}"/>
              </a:ext>
            </a:extLst>
          </p:cNvPr>
          <p:cNvSpPr/>
          <p:nvPr userDrawn="1"/>
        </p:nvSpPr>
        <p:spPr>
          <a:xfrm>
            <a:off x="4826389" y="4273882"/>
            <a:ext cx="135641" cy="135624"/>
          </a:xfrm>
          <a:prstGeom prst="ellipse">
            <a:avLst/>
          </a:prstGeom>
          <a:solidFill>
            <a:schemeClr val="tx1"/>
          </a:solidFill>
          <a:ln w="25400">
            <a:noFill/>
            <a:miter lim="400000"/>
          </a:ln>
        </p:spPr>
        <p:txBody>
          <a:bodyPr lIns="25372" tIns="25372" rIns="25372" bIns="25372" anchor="ctr"/>
          <a:lstStyle/>
          <a:p>
            <a:pPr algn="ctr" defTabSz="412281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 b="1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9" name="Círculo">
            <a:extLst>
              <a:ext uri="{FF2B5EF4-FFF2-40B4-BE49-F238E27FC236}">
                <a16:creationId xmlns:a16="http://schemas.microsoft.com/office/drawing/2014/main" xmlns="" id="{26A67EF5-217F-5545-A3D7-AB10AB73A118}"/>
              </a:ext>
            </a:extLst>
          </p:cNvPr>
          <p:cNvSpPr/>
          <p:nvPr userDrawn="1"/>
        </p:nvSpPr>
        <p:spPr>
          <a:xfrm>
            <a:off x="4826389" y="5503291"/>
            <a:ext cx="135641" cy="135624"/>
          </a:xfrm>
          <a:prstGeom prst="ellipse">
            <a:avLst/>
          </a:prstGeom>
          <a:solidFill>
            <a:schemeClr val="tx1"/>
          </a:solidFill>
          <a:ln w="25400">
            <a:noFill/>
            <a:miter lim="400000"/>
          </a:ln>
        </p:spPr>
        <p:txBody>
          <a:bodyPr lIns="25372" tIns="25372" rIns="25372" bIns="25372" anchor="ctr"/>
          <a:lstStyle/>
          <a:p>
            <a:pPr algn="ctr" defTabSz="412281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 b="1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6" name="Marcador de número de diapositiva 1">
            <a:extLst>
              <a:ext uri="{FF2B5EF4-FFF2-40B4-BE49-F238E27FC236}">
                <a16:creationId xmlns:a16="http://schemas.microsoft.com/office/drawing/2014/main" xmlns="" id="{4FA18335-D169-9344-A6C5-91AFEDE3035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400" b="1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8A8A8A"/>
                </a:solidFill>
              </a:rPr>
              <a:pPr/>
              <a:t>‹Nº›</a:t>
            </a:fld>
            <a:endParaRPr lang="es-CL" dirty="0">
              <a:solidFill>
                <a:srgbClr val="8A8A8A"/>
              </a:solidFill>
            </a:endParaRPr>
          </a:p>
        </p:txBody>
      </p:sp>
      <p:sp>
        <p:nvSpPr>
          <p:cNvPr id="17" name="Título 1">
            <a:extLst>
              <a:ext uri="{FF2B5EF4-FFF2-40B4-BE49-F238E27FC236}">
                <a16:creationId xmlns:a16="http://schemas.microsoft.com/office/drawing/2014/main" xmlns="" id="{8FC2E1CB-47B5-B24C-9758-AA3055BF9F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9967" y="458787"/>
            <a:ext cx="9889036" cy="720000"/>
          </a:xfrm>
          <a:prstGeom prst="rect">
            <a:avLst/>
          </a:prstGeom>
        </p:spPr>
        <p:txBody>
          <a:bodyPr lIns="0" tIns="0" rIns="0" bIns="0"/>
          <a:lstStyle>
            <a:lvl1pPr marL="11102" indent="-1110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sz="2396">
                <a:solidFill>
                  <a:schemeClr val="accent3"/>
                </a:solidFill>
              </a:defRPr>
            </a:lvl1pPr>
          </a:lstStyle>
          <a:p>
            <a:r>
              <a:rPr lang="es-ES" dirty="0"/>
              <a:t>Título Arial</a:t>
            </a:r>
            <a:br>
              <a:rPr lang="es-ES" dirty="0"/>
            </a:br>
            <a:r>
              <a:rPr lang="es-ES" dirty="0"/>
              <a:t>Bold 24</a:t>
            </a:r>
            <a:endParaRPr lang="es-CL" dirty="0"/>
          </a:p>
        </p:txBody>
      </p:sp>
      <p:cxnSp>
        <p:nvCxnSpPr>
          <p:cNvPr id="18" name="Conector recto 17">
            <a:extLst>
              <a:ext uri="{FF2B5EF4-FFF2-40B4-BE49-F238E27FC236}">
                <a16:creationId xmlns:a16="http://schemas.microsoft.com/office/drawing/2014/main" xmlns="" id="{E7E695FD-9A45-7843-9097-C406D605F206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319944000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14" userDrawn="1">
          <p15:clr>
            <a:srgbClr val="FBAE40"/>
          </p15:clr>
        </p15:guide>
        <p15:guide id="2" pos="2926" userDrawn="1">
          <p15:clr>
            <a:srgbClr val="FBAE40"/>
          </p15:clr>
        </p15:guide>
        <p15:guide id="3" orient="horz" pos="1522" userDrawn="1">
          <p15:clr>
            <a:srgbClr val="FBAE40"/>
          </p15:clr>
        </p15:guide>
        <p15:guide id="4" orient="horz" pos="2705" userDrawn="1">
          <p15:clr>
            <a:srgbClr val="FBAE40"/>
          </p15:clr>
        </p15:guide>
        <p15:guide id="5" orient="horz" pos="920" userDrawn="1">
          <p15:clr>
            <a:srgbClr val="FBAE40"/>
          </p15:clr>
        </p15:guide>
        <p15:guide id="6" orient="horz" pos="1646" userDrawn="1">
          <p15:clr>
            <a:srgbClr val="FBAE40"/>
          </p15:clr>
        </p15:guide>
        <p15:guide id="7" orient="horz" pos="868" userDrawn="1">
          <p15:clr>
            <a:srgbClr val="FBAE40"/>
          </p15:clr>
        </p15:guide>
        <p15:guide id="8" orient="horz" pos="1459" userDrawn="1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bjetivos 5 puntos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:a16="http://schemas.microsoft.com/office/drawing/2014/main" xmlns="" id="{1B3CF53D-25D4-9646-AB92-B8AA4975E6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3" y="1596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07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3" y="1596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Imagen 2">
            <a:extLst>
              <a:ext uri="{FF2B5EF4-FFF2-40B4-BE49-F238E27FC236}">
                <a16:creationId xmlns:a16="http://schemas.microsoft.com/office/drawing/2014/main" xmlns="" id="{F0F13478-20D7-DB4D-8994-4442E9CD0E5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20" name="Título 1">
            <a:extLst>
              <a:ext uri="{FF2B5EF4-FFF2-40B4-BE49-F238E27FC236}">
                <a16:creationId xmlns:a16="http://schemas.microsoft.com/office/drawing/2014/main" xmlns="" id="{85F7771C-C889-3F4D-9422-EADBF00AF25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539967" y="458787"/>
            <a:ext cx="9889036" cy="720000"/>
          </a:xfrm>
          <a:prstGeom prst="rect">
            <a:avLst/>
          </a:prstGeom>
        </p:spPr>
        <p:txBody>
          <a:bodyPr lIns="0" tIns="0" rIns="0" bIns="0"/>
          <a:lstStyle>
            <a:lvl1pPr marL="11102" indent="-1110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4566813" algn="l"/>
              </a:tabLst>
              <a:defRPr sz="2396">
                <a:solidFill>
                  <a:schemeClr val="tx2"/>
                </a:solidFill>
              </a:defRPr>
            </a:lvl1pPr>
          </a:lstStyle>
          <a:p>
            <a:r>
              <a:rPr lang="es-ES" dirty="0"/>
              <a:t>Título Arial</a:t>
            </a:r>
            <a:br>
              <a:rPr lang="es-ES" dirty="0"/>
            </a:br>
            <a:r>
              <a:rPr lang="es-ES" dirty="0"/>
              <a:t>Bold 24</a:t>
            </a:r>
            <a:endParaRPr lang="es-CL" dirty="0"/>
          </a:p>
        </p:txBody>
      </p:sp>
      <p:sp>
        <p:nvSpPr>
          <p:cNvPr id="22" name="Marcador de texto 7">
            <a:extLst>
              <a:ext uri="{FF2B5EF4-FFF2-40B4-BE49-F238E27FC236}">
                <a16:creationId xmlns:a16="http://schemas.microsoft.com/office/drawing/2014/main" xmlns="" id="{033F232C-1A9F-1C4B-B63A-72AD25EAD3C0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066347" y="1754571"/>
            <a:ext cx="5362655" cy="5043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97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8</a:t>
            </a:r>
            <a:endParaRPr lang="es-CL" dirty="0"/>
          </a:p>
        </p:txBody>
      </p:sp>
      <p:sp>
        <p:nvSpPr>
          <p:cNvPr id="23" name="Marcador de texto 7">
            <a:extLst>
              <a:ext uri="{FF2B5EF4-FFF2-40B4-BE49-F238E27FC236}">
                <a16:creationId xmlns:a16="http://schemas.microsoft.com/office/drawing/2014/main" xmlns="" id="{F6EA4AA6-F211-574A-BE31-1CA2875DC6C4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5066347" y="2718577"/>
            <a:ext cx="5362655" cy="5043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97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8</a:t>
            </a:r>
            <a:endParaRPr lang="es-CL" dirty="0"/>
          </a:p>
        </p:txBody>
      </p:sp>
      <p:sp>
        <p:nvSpPr>
          <p:cNvPr id="24" name="Marcador de texto 7">
            <a:extLst>
              <a:ext uri="{FF2B5EF4-FFF2-40B4-BE49-F238E27FC236}">
                <a16:creationId xmlns:a16="http://schemas.microsoft.com/office/drawing/2014/main" xmlns="" id="{863D69D1-EFC7-7243-988E-9B4FE12219E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66347" y="3682578"/>
            <a:ext cx="5362655" cy="5043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97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8</a:t>
            </a:r>
            <a:endParaRPr lang="es-CL" dirty="0"/>
          </a:p>
        </p:txBody>
      </p:sp>
      <p:sp>
        <p:nvSpPr>
          <p:cNvPr id="25" name="Marcador de texto 7">
            <a:extLst>
              <a:ext uri="{FF2B5EF4-FFF2-40B4-BE49-F238E27FC236}">
                <a16:creationId xmlns:a16="http://schemas.microsoft.com/office/drawing/2014/main" xmlns="" id="{C34B0237-B084-C74D-8391-D82249AAD0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066347" y="4646583"/>
            <a:ext cx="5362655" cy="5043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97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8</a:t>
            </a:r>
            <a:endParaRPr lang="es-CL" dirty="0"/>
          </a:p>
        </p:txBody>
      </p:sp>
      <p:sp>
        <p:nvSpPr>
          <p:cNvPr id="26" name="Marcador de texto 7">
            <a:extLst>
              <a:ext uri="{FF2B5EF4-FFF2-40B4-BE49-F238E27FC236}">
                <a16:creationId xmlns:a16="http://schemas.microsoft.com/office/drawing/2014/main" xmlns="" id="{826E294F-5837-2245-BE2D-D36BCA4C5AC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66347" y="5610585"/>
            <a:ext cx="5362655" cy="5043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97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8</a:t>
            </a:r>
            <a:endParaRPr lang="es-CL" dirty="0"/>
          </a:p>
        </p:txBody>
      </p:sp>
      <p:cxnSp>
        <p:nvCxnSpPr>
          <p:cNvPr id="28" name="Conector recto 27">
            <a:extLst>
              <a:ext uri="{FF2B5EF4-FFF2-40B4-BE49-F238E27FC236}">
                <a16:creationId xmlns:a16="http://schemas.microsoft.com/office/drawing/2014/main" xmlns="" id="{328CA6FF-8AB6-A846-8F9F-58E6916942EE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1" name="Línea">
            <a:extLst>
              <a:ext uri="{FF2B5EF4-FFF2-40B4-BE49-F238E27FC236}">
                <a16:creationId xmlns:a16="http://schemas.microsoft.com/office/drawing/2014/main" xmlns="" id="{2F0252DA-0526-E04B-A5AB-565A0999DFA9}"/>
              </a:ext>
            </a:extLst>
          </p:cNvPr>
          <p:cNvSpPr/>
          <p:nvPr userDrawn="1"/>
        </p:nvSpPr>
        <p:spPr>
          <a:xfrm flipV="1">
            <a:off x="4892172" y="1855059"/>
            <a:ext cx="0" cy="5002949"/>
          </a:xfrm>
          <a:prstGeom prst="line">
            <a:avLst/>
          </a:prstGeom>
          <a:ln w="25400">
            <a:solidFill>
              <a:schemeClr val="accent1"/>
            </a:solidFill>
          </a:ln>
        </p:spPr>
        <p:txBody>
          <a:bodyPr lIns="22836" rIns="22836"/>
          <a:lstStyle/>
          <a:p>
            <a:pPr defTabSz="1217024">
              <a:defRPr>
                <a:latin typeface="Arial"/>
                <a:ea typeface="Arial"/>
                <a:cs typeface="Arial"/>
                <a:sym typeface="Arial"/>
              </a:defRPr>
            </a:pPr>
            <a:endParaRPr sz="1200" dirty="0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32" name="Círculo">
            <a:extLst>
              <a:ext uri="{FF2B5EF4-FFF2-40B4-BE49-F238E27FC236}">
                <a16:creationId xmlns:a16="http://schemas.microsoft.com/office/drawing/2014/main" xmlns="" id="{5EBD3BAA-E338-E74B-B4DF-431734FDCD27}"/>
              </a:ext>
            </a:extLst>
          </p:cNvPr>
          <p:cNvSpPr/>
          <p:nvPr userDrawn="1"/>
        </p:nvSpPr>
        <p:spPr>
          <a:xfrm>
            <a:off x="4824352" y="1787239"/>
            <a:ext cx="135641" cy="135624"/>
          </a:xfrm>
          <a:prstGeom prst="ellipse">
            <a:avLst/>
          </a:prstGeom>
          <a:solidFill>
            <a:schemeClr val="accent1"/>
          </a:solidFill>
          <a:ln w="25400">
            <a:noFill/>
            <a:miter lim="400000"/>
          </a:ln>
        </p:spPr>
        <p:txBody>
          <a:bodyPr lIns="25372" tIns="25372" rIns="25372" bIns="25372" anchor="ctr"/>
          <a:lstStyle/>
          <a:p>
            <a:pPr algn="ctr" defTabSz="412281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 b="1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34" name="Círculo">
            <a:extLst>
              <a:ext uri="{FF2B5EF4-FFF2-40B4-BE49-F238E27FC236}">
                <a16:creationId xmlns:a16="http://schemas.microsoft.com/office/drawing/2014/main" xmlns="" id="{DB2D0711-71D5-FD4B-9481-A3307B3A6ACA}"/>
              </a:ext>
            </a:extLst>
          </p:cNvPr>
          <p:cNvSpPr/>
          <p:nvPr userDrawn="1"/>
        </p:nvSpPr>
        <p:spPr>
          <a:xfrm>
            <a:off x="4824352" y="5649226"/>
            <a:ext cx="135641" cy="135624"/>
          </a:xfrm>
          <a:prstGeom prst="ellipse">
            <a:avLst/>
          </a:prstGeom>
          <a:solidFill>
            <a:schemeClr val="accent1"/>
          </a:solidFill>
          <a:ln w="25400">
            <a:noFill/>
            <a:miter lim="400000"/>
          </a:ln>
        </p:spPr>
        <p:txBody>
          <a:bodyPr lIns="25372" tIns="25372" rIns="25372" bIns="25372" anchor="ctr"/>
          <a:lstStyle/>
          <a:p>
            <a:pPr algn="ctr" defTabSz="412281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 b="1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35" name="Círculo">
            <a:extLst>
              <a:ext uri="{FF2B5EF4-FFF2-40B4-BE49-F238E27FC236}">
                <a16:creationId xmlns:a16="http://schemas.microsoft.com/office/drawing/2014/main" xmlns="" id="{29E659B7-9E82-A14F-95D0-FF7ED8812D9C}"/>
              </a:ext>
            </a:extLst>
          </p:cNvPr>
          <p:cNvSpPr/>
          <p:nvPr userDrawn="1"/>
        </p:nvSpPr>
        <p:spPr>
          <a:xfrm>
            <a:off x="4824352" y="2766318"/>
            <a:ext cx="135641" cy="135624"/>
          </a:xfrm>
          <a:prstGeom prst="ellipse">
            <a:avLst/>
          </a:prstGeom>
          <a:solidFill>
            <a:schemeClr val="accent1"/>
          </a:solidFill>
          <a:ln w="25400">
            <a:noFill/>
            <a:miter lim="400000"/>
          </a:ln>
        </p:spPr>
        <p:txBody>
          <a:bodyPr lIns="25372" tIns="25372" rIns="25372" bIns="25372" anchor="ctr"/>
          <a:lstStyle/>
          <a:p>
            <a:pPr algn="ctr" defTabSz="412281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 b="1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36" name="Círculo">
            <a:extLst>
              <a:ext uri="{FF2B5EF4-FFF2-40B4-BE49-F238E27FC236}">
                <a16:creationId xmlns:a16="http://schemas.microsoft.com/office/drawing/2014/main" xmlns="" id="{73632F4F-FE52-304C-A320-85BDCD0F035B}"/>
              </a:ext>
            </a:extLst>
          </p:cNvPr>
          <p:cNvSpPr/>
          <p:nvPr userDrawn="1"/>
        </p:nvSpPr>
        <p:spPr>
          <a:xfrm>
            <a:off x="4824352" y="4693551"/>
            <a:ext cx="135641" cy="135624"/>
          </a:xfrm>
          <a:prstGeom prst="ellipse">
            <a:avLst/>
          </a:prstGeom>
          <a:solidFill>
            <a:schemeClr val="accent1"/>
          </a:solidFill>
          <a:ln w="25400">
            <a:noFill/>
            <a:miter lim="400000"/>
          </a:ln>
        </p:spPr>
        <p:txBody>
          <a:bodyPr lIns="25372" tIns="25372" rIns="25372" bIns="25372" anchor="ctr"/>
          <a:lstStyle/>
          <a:p>
            <a:pPr algn="ctr" defTabSz="412281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 b="1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37" name="Círculo">
            <a:extLst>
              <a:ext uri="{FF2B5EF4-FFF2-40B4-BE49-F238E27FC236}">
                <a16:creationId xmlns:a16="http://schemas.microsoft.com/office/drawing/2014/main" xmlns="" id="{8C591567-7AA5-CA4B-AAB8-A9F364E11F51}"/>
              </a:ext>
            </a:extLst>
          </p:cNvPr>
          <p:cNvSpPr/>
          <p:nvPr userDrawn="1"/>
        </p:nvSpPr>
        <p:spPr>
          <a:xfrm>
            <a:off x="4824352" y="3728343"/>
            <a:ext cx="135641" cy="135624"/>
          </a:xfrm>
          <a:prstGeom prst="ellipse">
            <a:avLst/>
          </a:prstGeom>
          <a:solidFill>
            <a:schemeClr val="accent1"/>
          </a:solidFill>
          <a:ln w="25400">
            <a:noFill/>
            <a:miter lim="400000"/>
          </a:ln>
        </p:spPr>
        <p:txBody>
          <a:bodyPr lIns="25372" tIns="25372" rIns="25372" bIns="25372" anchor="ctr"/>
          <a:lstStyle/>
          <a:p>
            <a:pPr algn="ctr" defTabSz="412281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 b="1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8" name="Marcador de número de diapositiva 1">
            <a:extLst>
              <a:ext uri="{FF2B5EF4-FFF2-40B4-BE49-F238E27FC236}">
                <a16:creationId xmlns:a16="http://schemas.microsoft.com/office/drawing/2014/main" xmlns="" id="{8F02C25E-E0A2-3D4A-834C-C91E9B0B28F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400" b="1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8A8A8A"/>
                </a:solidFill>
              </a:rPr>
              <a:pPr/>
              <a:t>‹Nº›</a:t>
            </a:fld>
            <a:endParaRPr lang="es-CL" dirty="0">
              <a:solidFill>
                <a:srgbClr val="8A8A8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007357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427" userDrawn="1">
          <p15:clr>
            <a:srgbClr val="FBAE40"/>
          </p15:clr>
        </p15:guide>
        <p15:guide id="2" orient="horz" pos="3291" userDrawn="1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sin fot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xmlns="" id="{99C22FEA-59FA-1540-A939-F039EF19BD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3" y="1596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431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3" y="1596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Imagen 2">
            <a:extLst>
              <a:ext uri="{FF2B5EF4-FFF2-40B4-BE49-F238E27FC236}">
                <a16:creationId xmlns:a16="http://schemas.microsoft.com/office/drawing/2014/main" xmlns="" id="{F0F13478-20D7-DB4D-8994-4442E9CD0E5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29" name="Marcador de texto 4">
            <a:extLst>
              <a:ext uri="{FF2B5EF4-FFF2-40B4-BE49-F238E27FC236}">
                <a16:creationId xmlns:a16="http://schemas.microsoft.com/office/drawing/2014/main" xmlns="" id="{D4D8DB34-4EB6-A44E-A2E9-0DDD94FE7CC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5100" y="2474555"/>
            <a:ext cx="1541898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6993" b="1">
                <a:solidFill>
                  <a:schemeClr val="bg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30" name="Marcador de texto 6">
            <a:extLst>
              <a:ext uri="{FF2B5EF4-FFF2-40B4-BE49-F238E27FC236}">
                <a16:creationId xmlns:a16="http://schemas.microsoft.com/office/drawing/2014/main" xmlns="" id="{5F4649B2-5AD6-AD4B-9530-EB8FA0B798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5108" y="3678869"/>
            <a:ext cx="1541898" cy="12477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defRPr sz="1797" b="1">
                <a:solidFill>
                  <a:schemeClr val="bg2"/>
                </a:solidFill>
              </a:defRPr>
            </a:lvl1pPr>
            <a:lvl2pPr marL="304455" indent="0">
              <a:buNone/>
              <a:defRPr sz="1499">
                <a:solidFill>
                  <a:schemeClr val="tx2"/>
                </a:solidFill>
              </a:defRPr>
            </a:lvl2pPr>
            <a:lvl3pPr marL="608908" indent="0">
              <a:buNone/>
              <a:defRPr sz="1499">
                <a:solidFill>
                  <a:schemeClr val="tx2"/>
                </a:solidFill>
              </a:defRPr>
            </a:lvl3pPr>
            <a:lvl4pPr marL="913363" indent="0">
              <a:buNone/>
              <a:defRPr sz="1499">
                <a:solidFill>
                  <a:schemeClr val="tx2"/>
                </a:solidFill>
              </a:defRPr>
            </a:lvl4pPr>
            <a:lvl5pPr marL="1217816" indent="0">
              <a:buNone/>
              <a:defRPr sz="1499">
                <a:solidFill>
                  <a:schemeClr val="tx2"/>
                </a:solidFill>
              </a:defRPr>
            </a:lvl5pPr>
          </a:lstStyle>
          <a:p>
            <a:pPr lvl="0"/>
            <a:r>
              <a:rPr lang="es-ES" dirty="0"/>
              <a:t>Hacer clic para modificar los textos</a:t>
            </a:r>
          </a:p>
          <a:p>
            <a:pPr lvl="0"/>
            <a:r>
              <a:rPr lang="es-ES" dirty="0"/>
              <a:t>Arial Bold 18</a:t>
            </a:r>
            <a:endParaRPr lang="es-CL" dirty="0"/>
          </a:p>
        </p:txBody>
      </p:sp>
      <p:sp>
        <p:nvSpPr>
          <p:cNvPr id="33" name="Marcador de texto 4">
            <a:extLst>
              <a:ext uri="{FF2B5EF4-FFF2-40B4-BE49-F238E27FC236}">
                <a16:creationId xmlns:a16="http://schemas.microsoft.com/office/drawing/2014/main" xmlns="" id="{6FA40A4D-EF21-A64B-BF59-22654E0FC56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75082" y="2474555"/>
            <a:ext cx="1538321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6993" b="0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34" name="Marcador de texto 6">
            <a:extLst>
              <a:ext uri="{FF2B5EF4-FFF2-40B4-BE49-F238E27FC236}">
                <a16:creationId xmlns:a16="http://schemas.microsoft.com/office/drawing/2014/main" xmlns="" id="{C2173465-02A7-5A42-9000-8BF6B7BE71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71957" y="3678869"/>
            <a:ext cx="1541898" cy="12477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defRPr sz="1797" b="0">
                <a:solidFill>
                  <a:schemeClr val="tx2"/>
                </a:solidFill>
              </a:defRPr>
            </a:lvl1pPr>
            <a:lvl2pPr marL="304455" indent="0">
              <a:buNone/>
              <a:defRPr sz="1499">
                <a:solidFill>
                  <a:schemeClr val="tx2"/>
                </a:solidFill>
              </a:defRPr>
            </a:lvl2pPr>
            <a:lvl3pPr marL="608908" indent="0">
              <a:buNone/>
              <a:defRPr sz="1499">
                <a:solidFill>
                  <a:schemeClr val="tx2"/>
                </a:solidFill>
              </a:defRPr>
            </a:lvl3pPr>
            <a:lvl4pPr marL="913363" indent="0">
              <a:buNone/>
              <a:defRPr sz="1499">
                <a:solidFill>
                  <a:schemeClr val="tx2"/>
                </a:solidFill>
              </a:defRPr>
            </a:lvl4pPr>
            <a:lvl5pPr marL="1217816" indent="0">
              <a:buNone/>
              <a:defRPr sz="1499">
                <a:solidFill>
                  <a:schemeClr val="tx2"/>
                </a:solidFill>
              </a:defRPr>
            </a:lvl5pPr>
          </a:lstStyle>
          <a:p>
            <a:pPr lvl="0"/>
            <a:r>
              <a:rPr lang="es-ES" dirty="0"/>
              <a:t>Hacer clic para modificar los textos</a:t>
            </a:r>
          </a:p>
          <a:p>
            <a:pPr lvl="0"/>
            <a:r>
              <a:rPr lang="es-ES" dirty="0"/>
              <a:t>Arial 18</a:t>
            </a:r>
          </a:p>
        </p:txBody>
      </p:sp>
      <p:sp>
        <p:nvSpPr>
          <p:cNvPr id="37" name="Marcador de texto 4">
            <a:extLst>
              <a:ext uri="{FF2B5EF4-FFF2-40B4-BE49-F238E27FC236}">
                <a16:creationId xmlns:a16="http://schemas.microsoft.com/office/drawing/2014/main" xmlns="" id="{74DCED2A-9C58-454A-8FD8-C41F4858157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285726" y="2474555"/>
            <a:ext cx="1532952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6993" b="0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38" name="Marcador de texto 6">
            <a:extLst>
              <a:ext uri="{FF2B5EF4-FFF2-40B4-BE49-F238E27FC236}">
                <a16:creationId xmlns:a16="http://schemas.microsoft.com/office/drawing/2014/main" xmlns="" id="{6538BA82-AE2C-E44B-A64C-98F8724D6B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283044" y="3678869"/>
            <a:ext cx="1541898" cy="12477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defRPr sz="1797" b="0">
                <a:solidFill>
                  <a:schemeClr val="tx2"/>
                </a:solidFill>
              </a:defRPr>
            </a:lvl1pPr>
            <a:lvl2pPr marL="304455" indent="0">
              <a:buNone/>
              <a:defRPr sz="1499">
                <a:solidFill>
                  <a:schemeClr val="tx2"/>
                </a:solidFill>
              </a:defRPr>
            </a:lvl2pPr>
            <a:lvl3pPr marL="608908" indent="0">
              <a:buNone/>
              <a:defRPr sz="1499">
                <a:solidFill>
                  <a:schemeClr val="tx2"/>
                </a:solidFill>
              </a:defRPr>
            </a:lvl3pPr>
            <a:lvl4pPr marL="913363" indent="0">
              <a:buNone/>
              <a:defRPr sz="1499">
                <a:solidFill>
                  <a:schemeClr val="tx2"/>
                </a:solidFill>
              </a:defRPr>
            </a:lvl4pPr>
            <a:lvl5pPr marL="1217816" indent="0">
              <a:buNone/>
              <a:defRPr sz="1499">
                <a:solidFill>
                  <a:schemeClr val="tx2"/>
                </a:solidFill>
              </a:defRPr>
            </a:lvl5pPr>
          </a:lstStyle>
          <a:p>
            <a:pPr lvl="0"/>
            <a:r>
              <a:rPr lang="es-ES" dirty="0"/>
              <a:t>Hacer clic para modificar los textos</a:t>
            </a:r>
          </a:p>
          <a:p>
            <a:pPr lvl="0"/>
            <a:r>
              <a:rPr lang="es-ES" dirty="0"/>
              <a:t>Arial 18</a:t>
            </a:r>
          </a:p>
        </p:txBody>
      </p:sp>
      <p:sp>
        <p:nvSpPr>
          <p:cNvPr id="41" name="Marcador de texto 4">
            <a:extLst>
              <a:ext uri="{FF2B5EF4-FFF2-40B4-BE49-F238E27FC236}">
                <a16:creationId xmlns:a16="http://schemas.microsoft.com/office/drawing/2014/main" xmlns="" id="{5E38B824-3D4A-4C46-8594-092BE3AC50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726629" y="2474555"/>
            <a:ext cx="1541893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6993" b="0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42" name="Marcador de texto 6">
            <a:extLst>
              <a:ext uri="{FF2B5EF4-FFF2-40B4-BE49-F238E27FC236}">
                <a16:creationId xmlns:a16="http://schemas.microsoft.com/office/drawing/2014/main" xmlns="" id="{42923E17-3BCD-4148-B7F1-DC9E8DE35FD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729757" y="3678869"/>
            <a:ext cx="1541898" cy="12477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defRPr sz="1797" b="0">
                <a:solidFill>
                  <a:schemeClr val="tx2"/>
                </a:solidFill>
              </a:defRPr>
            </a:lvl1pPr>
            <a:lvl2pPr marL="304455" indent="0">
              <a:buNone/>
              <a:defRPr sz="1499">
                <a:solidFill>
                  <a:schemeClr val="tx2"/>
                </a:solidFill>
              </a:defRPr>
            </a:lvl2pPr>
            <a:lvl3pPr marL="608908" indent="0">
              <a:buNone/>
              <a:defRPr sz="1499">
                <a:solidFill>
                  <a:schemeClr val="tx2"/>
                </a:solidFill>
              </a:defRPr>
            </a:lvl3pPr>
            <a:lvl4pPr marL="913363" indent="0">
              <a:buNone/>
              <a:defRPr sz="1499">
                <a:solidFill>
                  <a:schemeClr val="tx2"/>
                </a:solidFill>
              </a:defRPr>
            </a:lvl4pPr>
            <a:lvl5pPr marL="1217816" indent="0">
              <a:buNone/>
              <a:defRPr sz="1499">
                <a:solidFill>
                  <a:schemeClr val="tx2"/>
                </a:solidFill>
              </a:defRPr>
            </a:lvl5pPr>
          </a:lstStyle>
          <a:p>
            <a:pPr lvl="0"/>
            <a:r>
              <a:rPr lang="es-ES" dirty="0"/>
              <a:t>Hacer clic para modificar los textos</a:t>
            </a:r>
          </a:p>
          <a:p>
            <a:pPr lvl="0"/>
            <a:r>
              <a:rPr lang="es-ES" dirty="0"/>
              <a:t>Arial 18</a:t>
            </a:r>
          </a:p>
        </p:txBody>
      </p:sp>
      <p:sp>
        <p:nvSpPr>
          <p:cNvPr id="45" name="Marcador de texto 4">
            <a:extLst>
              <a:ext uri="{FF2B5EF4-FFF2-40B4-BE49-F238E27FC236}">
                <a16:creationId xmlns:a16="http://schemas.microsoft.com/office/drawing/2014/main" xmlns="" id="{D0656489-C7FB-6E4C-BCFA-62074E56CF5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182282" y="2474555"/>
            <a:ext cx="1541895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6993" b="0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46" name="Marcador de texto 6">
            <a:extLst>
              <a:ext uri="{FF2B5EF4-FFF2-40B4-BE49-F238E27FC236}">
                <a16:creationId xmlns:a16="http://schemas.microsoft.com/office/drawing/2014/main" xmlns="" id="{F1B36306-245B-3644-B2F3-99F2E4A0EE8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0182282" y="3678869"/>
            <a:ext cx="1541898" cy="12477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defRPr sz="1797" b="0">
                <a:solidFill>
                  <a:schemeClr val="tx2"/>
                </a:solidFill>
              </a:defRPr>
            </a:lvl1pPr>
            <a:lvl2pPr marL="304455" indent="0">
              <a:buNone/>
              <a:defRPr sz="1499">
                <a:solidFill>
                  <a:schemeClr val="tx2"/>
                </a:solidFill>
              </a:defRPr>
            </a:lvl2pPr>
            <a:lvl3pPr marL="608908" indent="0">
              <a:buNone/>
              <a:defRPr sz="1499">
                <a:solidFill>
                  <a:schemeClr val="tx2"/>
                </a:solidFill>
              </a:defRPr>
            </a:lvl3pPr>
            <a:lvl4pPr marL="913363" indent="0">
              <a:buNone/>
              <a:defRPr sz="1499">
                <a:solidFill>
                  <a:schemeClr val="tx2"/>
                </a:solidFill>
              </a:defRPr>
            </a:lvl4pPr>
            <a:lvl5pPr marL="1217816" indent="0">
              <a:buNone/>
              <a:defRPr sz="1499">
                <a:solidFill>
                  <a:schemeClr val="tx2"/>
                </a:solidFill>
              </a:defRPr>
            </a:lvl5pPr>
          </a:lstStyle>
          <a:p>
            <a:pPr lvl="0"/>
            <a:r>
              <a:rPr lang="es-ES" dirty="0"/>
              <a:t>Hacer clic para modificar los textos</a:t>
            </a:r>
          </a:p>
          <a:p>
            <a:pPr lvl="0"/>
            <a:r>
              <a:rPr lang="es-ES" dirty="0"/>
              <a:t>Arial 18</a:t>
            </a:r>
          </a:p>
        </p:txBody>
      </p:sp>
      <p:sp>
        <p:nvSpPr>
          <p:cNvPr id="24" name="Marcador de número de diapositiva 1">
            <a:extLst>
              <a:ext uri="{FF2B5EF4-FFF2-40B4-BE49-F238E27FC236}">
                <a16:creationId xmlns:a16="http://schemas.microsoft.com/office/drawing/2014/main" xmlns="" id="{A62BA8AF-38A5-5D4F-8563-B2CC53A243F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400" b="1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8A8A8A"/>
                </a:solidFill>
              </a:rPr>
              <a:pPr/>
              <a:t>‹Nº›</a:t>
            </a:fld>
            <a:endParaRPr lang="es-CL" dirty="0">
              <a:solidFill>
                <a:srgbClr val="8A8A8A"/>
              </a:solidFill>
            </a:endParaRPr>
          </a:p>
        </p:txBody>
      </p:sp>
      <p:sp>
        <p:nvSpPr>
          <p:cNvPr id="21" name="Título 1">
            <a:extLst>
              <a:ext uri="{FF2B5EF4-FFF2-40B4-BE49-F238E27FC236}">
                <a16:creationId xmlns:a16="http://schemas.microsoft.com/office/drawing/2014/main" xmlns="" id="{7D052E2E-E151-E64A-A37E-82F3AB511F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9967" y="458787"/>
            <a:ext cx="9889036" cy="720000"/>
          </a:xfrm>
          <a:prstGeom prst="rect">
            <a:avLst/>
          </a:prstGeom>
        </p:spPr>
        <p:txBody>
          <a:bodyPr lIns="0" tIns="0" rIns="0" bIns="0"/>
          <a:lstStyle>
            <a:lvl1pPr marL="11102" indent="-1110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sz="2396">
                <a:solidFill>
                  <a:schemeClr val="accent3"/>
                </a:solidFill>
              </a:defRPr>
            </a:lvl1pPr>
          </a:lstStyle>
          <a:p>
            <a:r>
              <a:rPr lang="es-ES" dirty="0"/>
              <a:t>Título Arial</a:t>
            </a:r>
            <a:br>
              <a:rPr lang="es-ES" dirty="0"/>
            </a:br>
            <a:r>
              <a:rPr lang="es-ES" dirty="0"/>
              <a:t>Bold 24</a:t>
            </a:r>
            <a:endParaRPr lang="es-CL" dirty="0"/>
          </a:p>
        </p:txBody>
      </p:sp>
      <p:cxnSp>
        <p:nvCxnSpPr>
          <p:cNvPr id="26" name="Conector recto 25">
            <a:extLst>
              <a:ext uri="{FF2B5EF4-FFF2-40B4-BE49-F238E27FC236}">
                <a16:creationId xmlns:a16="http://schemas.microsoft.com/office/drawing/2014/main" xmlns="" id="{AEDEA3B5-7762-144D-8DAA-B6F8DEC998FB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267496311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183" userDrawn="1">
          <p15:clr>
            <a:srgbClr val="FBAE40"/>
          </p15:clr>
        </p15:guide>
        <p15:guide id="2" pos="2926" userDrawn="1">
          <p15:clr>
            <a:srgbClr val="FBAE40"/>
          </p15:clr>
        </p15:guide>
        <p15:guide id="3" orient="horz" pos="212" userDrawn="1">
          <p15:clr>
            <a:srgbClr val="FBAE40"/>
          </p15:clr>
        </p15:guide>
        <p15:guide id="4" pos="251" userDrawn="1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genda con fot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xmlns="" id="{4CC8A321-110D-F84C-BC3A-3F4DCCDAB0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3" y="1596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455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3" y="1596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Marcador de posición de imagen 48">
            <a:extLst>
              <a:ext uri="{FF2B5EF4-FFF2-40B4-BE49-F238E27FC236}">
                <a16:creationId xmlns:a16="http://schemas.microsoft.com/office/drawing/2014/main" xmlns="" id="{1B440493-E3F4-1342-A810-C3F9FAEC89A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84460" y="2470016"/>
            <a:ext cx="1910805" cy="1404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s-CL" dirty="0"/>
              <a:t>Doble click para incorporar una imagen</a:t>
            </a: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xmlns="" id="{F0F13478-20D7-DB4D-8994-4442E9CD0E5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56" name="Marcador de posición de imagen 48">
            <a:extLst>
              <a:ext uri="{FF2B5EF4-FFF2-40B4-BE49-F238E27FC236}">
                <a16:creationId xmlns:a16="http://schemas.microsoft.com/office/drawing/2014/main" xmlns="" id="{E5FAA08C-8A49-324F-84B7-1DB2F697B29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667472" y="2470016"/>
            <a:ext cx="1910805" cy="1404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58" name="Marcador de posición de imagen 48">
            <a:extLst>
              <a:ext uri="{FF2B5EF4-FFF2-40B4-BE49-F238E27FC236}">
                <a16:creationId xmlns:a16="http://schemas.microsoft.com/office/drawing/2014/main" xmlns="" id="{34FF0757-2DED-4B4A-B2FA-00557BE8963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750484" y="2470016"/>
            <a:ext cx="1910805" cy="1404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9" name="Marcador de posición de imagen 48">
            <a:extLst>
              <a:ext uri="{FF2B5EF4-FFF2-40B4-BE49-F238E27FC236}">
                <a16:creationId xmlns:a16="http://schemas.microsoft.com/office/drawing/2014/main" xmlns="" id="{2DFEDD8C-A34C-B34F-A4D7-68530375A69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833496" y="2470016"/>
            <a:ext cx="1910805" cy="1404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15" name="Marcador de texto 7">
            <a:extLst>
              <a:ext uri="{FF2B5EF4-FFF2-40B4-BE49-F238E27FC236}">
                <a16:creationId xmlns:a16="http://schemas.microsoft.com/office/drawing/2014/main" xmlns="" id="{6A7883B1-3426-A549-92EA-BD1A4023ADE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4459" y="4082327"/>
            <a:ext cx="1910746" cy="1563912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spcAft>
                <a:spcPts val="1000"/>
              </a:spcAft>
              <a:buNone/>
              <a:defRPr sz="1600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r>
              <a:rPr lang="es-ES" dirty="0">
                <a:solidFill>
                  <a:schemeClr val="bg2"/>
                </a:solidFill>
              </a:rPr>
              <a:t>Texto que indica el capítulo en el que estamos</a:t>
            </a:r>
          </a:p>
          <a:p>
            <a:r>
              <a:rPr lang="es-ES" dirty="0">
                <a:solidFill>
                  <a:schemeClr val="bg2"/>
                </a:solidFill>
              </a:rPr>
              <a:t>Arial Bold 16</a:t>
            </a:r>
          </a:p>
        </p:txBody>
      </p:sp>
      <p:sp>
        <p:nvSpPr>
          <p:cNvPr id="17" name="Marcador de texto 7">
            <a:extLst>
              <a:ext uri="{FF2B5EF4-FFF2-40B4-BE49-F238E27FC236}">
                <a16:creationId xmlns:a16="http://schemas.microsoft.com/office/drawing/2014/main" xmlns="" id="{57CED1DC-47B6-A343-BB28-616597DA9FB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667492" y="4082782"/>
            <a:ext cx="1910746" cy="15634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Nombre Capítulo 2</a:t>
            </a:r>
            <a:br>
              <a:rPr lang="es-ES" dirty="0"/>
            </a:br>
            <a:r>
              <a:rPr lang="es-ES" dirty="0"/>
              <a:t>Arial 16</a:t>
            </a:r>
            <a:endParaRPr lang="es-CL" dirty="0"/>
          </a:p>
        </p:txBody>
      </p:sp>
      <p:sp>
        <p:nvSpPr>
          <p:cNvPr id="18" name="Marcador de texto 7">
            <a:extLst>
              <a:ext uri="{FF2B5EF4-FFF2-40B4-BE49-F238E27FC236}">
                <a16:creationId xmlns:a16="http://schemas.microsoft.com/office/drawing/2014/main" xmlns="" id="{D2B3CAFC-D9A0-A34F-BD98-4510B81946E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524" y="4082782"/>
            <a:ext cx="1910746" cy="15634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Nombre Capítulo 3</a:t>
            </a:r>
            <a:br>
              <a:rPr lang="es-ES" dirty="0"/>
            </a:br>
            <a:r>
              <a:rPr lang="es-ES" dirty="0"/>
              <a:t>Arial 16</a:t>
            </a:r>
            <a:endParaRPr lang="es-CL" dirty="0"/>
          </a:p>
        </p:txBody>
      </p:sp>
      <p:sp>
        <p:nvSpPr>
          <p:cNvPr id="19" name="Marcador de texto 7">
            <a:extLst>
              <a:ext uri="{FF2B5EF4-FFF2-40B4-BE49-F238E27FC236}">
                <a16:creationId xmlns:a16="http://schemas.microsoft.com/office/drawing/2014/main" xmlns="" id="{BB19E2D3-8F9F-1C41-92D8-77569D29022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833555" y="4082782"/>
            <a:ext cx="1910746" cy="15634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Nombre Capítulo 4</a:t>
            </a:r>
            <a:br>
              <a:rPr lang="es-ES" dirty="0"/>
            </a:br>
            <a:r>
              <a:rPr lang="es-ES" dirty="0"/>
              <a:t>Arial 16</a:t>
            </a:r>
            <a:endParaRPr lang="es-CL" dirty="0"/>
          </a:p>
        </p:txBody>
      </p:sp>
      <p:sp>
        <p:nvSpPr>
          <p:cNvPr id="21" name="Marcador de texto 4">
            <a:extLst>
              <a:ext uri="{FF2B5EF4-FFF2-40B4-BE49-F238E27FC236}">
                <a16:creationId xmlns:a16="http://schemas.microsoft.com/office/drawing/2014/main" xmlns="" id="{9440AD7B-097E-C24C-A4EE-30C53E3EC6E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26680" y="1926722"/>
            <a:ext cx="1200112" cy="8792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6993" b="1">
                <a:solidFill>
                  <a:schemeClr val="bg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22" name="Marcador de texto 4">
            <a:extLst>
              <a:ext uri="{FF2B5EF4-FFF2-40B4-BE49-F238E27FC236}">
                <a16:creationId xmlns:a16="http://schemas.microsoft.com/office/drawing/2014/main" xmlns="" id="{0BD763DB-BA4F-3A45-83C4-B7A958FB745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12892" y="1926722"/>
            <a:ext cx="1200112" cy="8792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6993" b="1">
                <a:solidFill>
                  <a:schemeClr val="bg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23" name="Marcador de texto 4">
            <a:extLst>
              <a:ext uri="{FF2B5EF4-FFF2-40B4-BE49-F238E27FC236}">
                <a16:creationId xmlns:a16="http://schemas.microsoft.com/office/drawing/2014/main" xmlns="" id="{D9664D75-F6A1-C840-9C99-011D8555528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599104" y="1926722"/>
            <a:ext cx="1200112" cy="8792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6993" b="1">
                <a:solidFill>
                  <a:schemeClr val="bg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24" name="Marcador de texto 4">
            <a:extLst>
              <a:ext uri="{FF2B5EF4-FFF2-40B4-BE49-F238E27FC236}">
                <a16:creationId xmlns:a16="http://schemas.microsoft.com/office/drawing/2014/main" xmlns="" id="{F564BB9F-E578-B04F-B48F-901C810196C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685316" y="1926722"/>
            <a:ext cx="1200112" cy="8792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6993" b="1">
                <a:solidFill>
                  <a:schemeClr val="bg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20" name="Marcador de número de diapositiva 1">
            <a:extLst>
              <a:ext uri="{FF2B5EF4-FFF2-40B4-BE49-F238E27FC236}">
                <a16:creationId xmlns:a16="http://schemas.microsoft.com/office/drawing/2014/main" xmlns="" id="{FDE431FB-014C-F048-8EDC-BF5DCEA4DFD4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8A8A8A"/>
                </a:solidFill>
              </a:rPr>
              <a:pPr/>
              <a:t>‹Nº›</a:t>
            </a:fld>
            <a:endParaRPr lang="es-CL" dirty="0">
              <a:solidFill>
                <a:srgbClr val="8A8A8A"/>
              </a:solidFill>
            </a:endParaRPr>
          </a:p>
        </p:txBody>
      </p:sp>
      <p:sp>
        <p:nvSpPr>
          <p:cNvPr id="25" name="Título 1">
            <a:extLst>
              <a:ext uri="{FF2B5EF4-FFF2-40B4-BE49-F238E27FC236}">
                <a16:creationId xmlns:a16="http://schemas.microsoft.com/office/drawing/2014/main" xmlns="" id="{40A1A5D0-A042-D549-BD19-F82C25506F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9967" y="458787"/>
            <a:ext cx="9889036" cy="720000"/>
          </a:xfrm>
          <a:prstGeom prst="rect">
            <a:avLst/>
          </a:prstGeom>
        </p:spPr>
        <p:txBody>
          <a:bodyPr lIns="0" tIns="0" rIns="0" bIns="0"/>
          <a:lstStyle>
            <a:lvl1pPr marL="11102" indent="-1110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sz="2396">
                <a:solidFill>
                  <a:schemeClr val="accent3"/>
                </a:solidFill>
              </a:defRPr>
            </a:lvl1pPr>
          </a:lstStyle>
          <a:p>
            <a:r>
              <a:rPr lang="es-ES" dirty="0"/>
              <a:t>Título Arial</a:t>
            </a:r>
            <a:br>
              <a:rPr lang="es-ES" dirty="0"/>
            </a:br>
            <a:r>
              <a:rPr lang="es-ES" dirty="0"/>
              <a:t>Bold 24</a:t>
            </a:r>
            <a:endParaRPr lang="es-CL" dirty="0"/>
          </a:p>
        </p:txBody>
      </p:sp>
      <p:cxnSp>
        <p:nvCxnSpPr>
          <p:cNvPr id="27" name="Conector recto 26">
            <a:extLst>
              <a:ext uri="{FF2B5EF4-FFF2-40B4-BE49-F238E27FC236}">
                <a16:creationId xmlns:a16="http://schemas.microsoft.com/office/drawing/2014/main" xmlns="" id="{D9520A27-4D1A-F840-A66E-86B449130909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376545800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04" userDrawn="1">
          <p15:clr>
            <a:srgbClr val="FBAE40"/>
          </p15:clr>
        </p15:guide>
        <p15:guide id="2" pos="2926" userDrawn="1">
          <p15:clr>
            <a:srgbClr val="FBAE40"/>
          </p15:clr>
        </p15:guide>
        <p15:guide id="3" orient="horz" pos="220" userDrawn="1">
          <p15:clr>
            <a:srgbClr val="FBAE40"/>
          </p15:clr>
        </p15:guide>
        <p15:guide id="4" pos="5381" userDrawn="1">
          <p15:clr>
            <a:srgbClr val="FBAE40"/>
          </p15:clr>
        </p15:guide>
        <p15:guide id="5" orient="horz" pos="1183" userDrawn="1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Agenda con fot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xmlns="" id="{4CC8A321-110D-F84C-BC3A-3F4DCCDAB0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3" y="1596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479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3" y="1596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Marcador de posición de imagen 48">
            <a:extLst>
              <a:ext uri="{FF2B5EF4-FFF2-40B4-BE49-F238E27FC236}">
                <a16:creationId xmlns:a16="http://schemas.microsoft.com/office/drawing/2014/main" xmlns="" id="{1B440493-E3F4-1342-A810-C3F9FAEC89A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84460" y="2470016"/>
            <a:ext cx="1910805" cy="1404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</a:lstStyle>
          <a:p>
            <a:r>
              <a:rPr lang="es-CL" dirty="0"/>
              <a:t>Insertar ícono o foto</a:t>
            </a: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xmlns="" id="{F0F13478-20D7-DB4D-8994-4442E9CD0E5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56" name="Marcador de posición de imagen 48">
            <a:extLst>
              <a:ext uri="{FF2B5EF4-FFF2-40B4-BE49-F238E27FC236}">
                <a16:creationId xmlns:a16="http://schemas.microsoft.com/office/drawing/2014/main" xmlns="" id="{E5FAA08C-8A49-324F-84B7-1DB2F697B29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667472" y="2470016"/>
            <a:ext cx="1910805" cy="1404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</a:lstStyle>
          <a:p>
            <a:r>
              <a:rPr lang="es-CL" dirty="0"/>
              <a:t>Insertar ícono o foto</a:t>
            </a:r>
          </a:p>
        </p:txBody>
      </p:sp>
      <p:sp>
        <p:nvSpPr>
          <p:cNvPr id="58" name="Marcador de posición de imagen 48">
            <a:extLst>
              <a:ext uri="{FF2B5EF4-FFF2-40B4-BE49-F238E27FC236}">
                <a16:creationId xmlns:a16="http://schemas.microsoft.com/office/drawing/2014/main" xmlns="" id="{34FF0757-2DED-4B4A-B2FA-00557BE8963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750484" y="2470016"/>
            <a:ext cx="1910805" cy="1404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</a:lstStyle>
          <a:p>
            <a:r>
              <a:rPr lang="es-CL" dirty="0"/>
              <a:t>Insertar ícono o foto</a:t>
            </a:r>
          </a:p>
        </p:txBody>
      </p:sp>
      <p:sp>
        <p:nvSpPr>
          <p:cNvPr id="9" name="Marcador de posición de imagen 48">
            <a:extLst>
              <a:ext uri="{FF2B5EF4-FFF2-40B4-BE49-F238E27FC236}">
                <a16:creationId xmlns:a16="http://schemas.microsoft.com/office/drawing/2014/main" xmlns="" id="{2DFEDD8C-A34C-B34F-A4D7-68530375A69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833496" y="2470016"/>
            <a:ext cx="1910805" cy="1404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</a:lstStyle>
          <a:p>
            <a:r>
              <a:rPr lang="es-CL" dirty="0"/>
              <a:t>Insertar ícono o foto</a:t>
            </a:r>
          </a:p>
        </p:txBody>
      </p:sp>
      <p:sp>
        <p:nvSpPr>
          <p:cNvPr id="17" name="Marcador de texto 7">
            <a:extLst>
              <a:ext uri="{FF2B5EF4-FFF2-40B4-BE49-F238E27FC236}">
                <a16:creationId xmlns:a16="http://schemas.microsoft.com/office/drawing/2014/main" xmlns="" id="{57CED1DC-47B6-A343-BB28-616597DA9FB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667492" y="4082782"/>
            <a:ext cx="1910746" cy="15634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Nombre Capítulo 2</a:t>
            </a:r>
            <a:br>
              <a:rPr lang="es-ES" dirty="0"/>
            </a:br>
            <a:r>
              <a:rPr lang="es-ES" dirty="0"/>
              <a:t>Arial 16</a:t>
            </a:r>
            <a:endParaRPr lang="es-CL" dirty="0"/>
          </a:p>
        </p:txBody>
      </p:sp>
      <p:sp>
        <p:nvSpPr>
          <p:cNvPr id="18" name="Marcador de texto 7">
            <a:extLst>
              <a:ext uri="{FF2B5EF4-FFF2-40B4-BE49-F238E27FC236}">
                <a16:creationId xmlns:a16="http://schemas.microsoft.com/office/drawing/2014/main" xmlns="" id="{D2B3CAFC-D9A0-A34F-BD98-4510B81946E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524" y="4082782"/>
            <a:ext cx="1910746" cy="15634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Nombre Capítulo 3</a:t>
            </a:r>
            <a:br>
              <a:rPr lang="es-ES" dirty="0"/>
            </a:br>
            <a:r>
              <a:rPr lang="es-ES" dirty="0"/>
              <a:t>Arial 16</a:t>
            </a:r>
            <a:endParaRPr lang="es-CL" dirty="0"/>
          </a:p>
        </p:txBody>
      </p:sp>
      <p:sp>
        <p:nvSpPr>
          <p:cNvPr id="19" name="Marcador de texto 7">
            <a:extLst>
              <a:ext uri="{FF2B5EF4-FFF2-40B4-BE49-F238E27FC236}">
                <a16:creationId xmlns:a16="http://schemas.microsoft.com/office/drawing/2014/main" xmlns="" id="{BB19E2D3-8F9F-1C41-92D8-77569D29022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833555" y="4082782"/>
            <a:ext cx="1910746" cy="15634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Nombre Capítulo 4</a:t>
            </a:r>
            <a:br>
              <a:rPr lang="es-ES" dirty="0"/>
            </a:br>
            <a:r>
              <a:rPr lang="es-ES" dirty="0"/>
              <a:t>Arial 16</a:t>
            </a:r>
            <a:endParaRPr lang="es-CL" dirty="0"/>
          </a:p>
        </p:txBody>
      </p:sp>
      <p:sp>
        <p:nvSpPr>
          <p:cNvPr id="21" name="Marcador de texto 4">
            <a:extLst>
              <a:ext uri="{FF2B5EF4-FFF2-40B4-BE49-F238E27FC236}">
                <a16:creationId xmlns:a16="http://schemas.microsoft.com/office/drawing/2014/main" xmlns="" id="{9440AD7B-097E-C24C-A4EE-30C53E3EC6E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6620" y="1926722"/>
            <a:ext cx="1200112" cy="8792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5393" b="0">
                <a:solidFill>
                  <a:schemeClr val="bg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22" name="Marcador de texto 4">
            <a:extLst>
              <a:ext uri="{FF2B5EF4-FFF2-40B4-BE49-F238E27FC236}">
                <a16:creationId xmlns:a16="http://schemas.microsoft.com/office/drawing/2014/main" xmlns="" id="{0BD763DB-BA4F-3A45-83C4-B7A958FB745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22832" y="1926722"/>
            <a:ext cx="1200112" cy="8792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5393" b="0">
                <a:solidFill>
                  <a:schemeClr val="bg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23" name="Marcador de texto 4">
            <a:extLst>
              <a:ext uri="{FF2B5EF4-FFF2-40B4-BE49-F238E27FC236}">
                <a16:creationId xmlns:a16="http://schemas.microsoft.com/office/drawing/2014/main" xmlns="" id="{D9664D75-F6A1-C840-9C99-011D8555528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609044" y="1926722"/>
            <a:ext cx="1200112" cy="8792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5393" b="0">
                <a:solidFill>
                  <a:schemeClr val="bg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24" name="Marcador de texto 4">
            <a:extLst>
              <a:ext uri="{FF2B5EF4-FFF2-40B4-BE49-F238E27FC236}">
                <a16:creationId xmlns:a16="http://schemas.microsoft.com/office/drawing/2014/main" xmlns="" id="{F564BB9F-E578-B04F-B48F-901C810196C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685316" y="1926722"/>
            <a:ext cx="1200112" cy="8792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5393" b="0">
                <a:solidFill>
                  <a:schemeClr val="bg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20" name="Marcador de número de diapositiva 1">
            <a:extLst>
              <a:ext uri="{FF2B5EF4-FFF2-40B4-BE49-F238E27FC236}">
                <a16:creationId xmlns:a16="http://schemas.microsoft.com/office/drawing/2014/main" xmlns="" id="{FDE431FB-014C-F048-8EDC-BF5DCEA4DFD4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8A8A8A"/>
                </a:solidFill>
              </a:rPr>
              <a:pPr/>
              <a:t>‹Nº›</a:t>
            </a:fld>
            <a:endParaRPr lang="es-CL" dirty="0">
              <a:solidFill>
                <a:srgbClr val="8A8A8A"/>
              </a:solidFill>
            </a:endParaRPr>
          </a:p>
        </p:txBody>
      </p:sp>
      <p:sp>
        <p:nvSpPr>
          <p:cNvPr id="25" name="Título 1">
            <a:extLst>
              <a:ext uri="{FF2B5EF4-FFF2-40B4-BE49-F238E27FC236}">
                <a16:creationId xmlns:a16="http://schemas.microsoft.com/office/drawing/2014/main" xmlns="" id="{40A1A5D0-A042-D549-BD19-F82C25506F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9967" y="458787"/>
            <a:ext cx="9889036" cy="720000"/>
          </a:xfrm>
          <a:prstGeom prst="rect">
            <a:avLst/>
          </a:prstGeom>
        </p:spPr>
        <p:txBody>
          <a:bodyPr lIns="0" tIns="0" rIns="0" bIns="0"/>
          <a:lstStyle>
            <a:lvl1pPr marL="11102" indent="-1110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sz="2396">
                <a:solidFill>
                  <a:schemeClr val="accent3"/>
                </a:solidFill>
              </a:defRPr>
            </a:lvl1pPr>
          </a:lstStyle>
          <a:p>
            <a:r>
              <a:rPr lang="es-ES" dirty="0"/>
              <a:t>Título Arial</a:t>
            </a:r>
            <a:br>
              <a:rPr lang="es-ES" dirty="0"/>
            </a:br>
            <a:r>
              <a:rPr lang="es-ES" dirty="0"/>
              <a:t>Bold 24</a:t>
            </a:r>
            <a:endParaRPr lang="es-CL" dirty="0"/>
          </a:p>
        </p:txBody>
      </p:sp>
      <p:cxnSp>
        <p:nvCxnSpPr>
          <p:cNvPr id="27" name="Conector recto 26">
            <a:extLst>
              <a:ext uri="{FF2B5EF4-FFF2-40B4-BE49-F238E27FC236}">
                <a16:creationId xmlns:a16="http://schemas.microsoft.com/office/drawing/2014/main" xmlns="" id="{D9520A27-4D1A-F840-A66E-86B449130909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6" name="Marcador de texto 7">
            <a:extLst>
              <a:ext uri="{FF2B5EF4-FFF2-40B4-BE49-F238E27FC236}">
                <a16:creationId xmlns:a16="http://schemas.microsoft.com/office/drawing/2014/main" xmlns="" id="{81493573-B933-2E4C-830B-A9B9EBC3DD2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72197" y="4082782"/>
            <a:ext cx="1910746" cy="15634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Nombre Capítulo 1</a:t>
            </a:r>
            <a:br>
              <a:rPr lang="es-ES" dirty="0"/>
            </a:br>
            <a:r>
              <a:rPr lang="es-ES" dirty="0"/>
              <a:t>Arial 16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404534086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04" userDrawn="1">
          <p15:clr>
            <a:srgbClr val="FBAE40"/>
          </p15:clr>
        </p15:guide>
        <p15:guide id="2" pos="2926" userDrawn="1">
          <p15:clr>
            <a:srgbClr val="FBAE40"/>
          </p15:clr>
        </p15:guide>
        <p15:guide id="3" orient="horz" pos="220" userDrawn="1">
          <p15:clr>
            <a:srgbClr val="FBAE40"/>
          </p15:clr>
        </p15:guide>
        <p15:guide id="4" pos="5381" userDrawn="1">
          <p15:clr>
            <a:srgbClr val="FBAE40"/>
          </p15:clr>
        </p15:guide>
        <p15:guide id="5" orient="horz" pos="1183" userDrawn="1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ámina enumeració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36" name="Marcador de texto 7">
            <a:extLst>
              <a:ext uri="{FF2B5EF4-FFF2-40B4-BE49-F238E27FC236}">
                <a16:creationId xmlns:a16="http://schemas.microsoft.com/office/drawing/2014/main" xmlns="" id="{F98F0A76-E459-7040-92DF-0796E35D78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1280" y="3613261"/>
            <a:ext cx="2401955" cy="22154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53" name="Conector recto 74">
            <a:extLst>
              <a:ext uri="{FF2B5EF4-FFF2-40B4-BE49-F238E27FC236}">
                <a16:creationId xmlns:a16="http://schemas.microsoft.com/office/drawing/2014/main" xmlns="" id="{5BEE3994-12D6-1249-9576-D8A33A059B6C}"/>
              </a:ext>
            </a:extLst>
          </p:cNvPr>
          <p:cNvSpPr/>
          <p:nvPr userDrawn="1"/>
        </p:nvSpPr>
        <p:spPr>
          <a:xfrm flipH="1">
            <a:off x="443765" y="3340780"/>
            <a:ext cx="2405113" cy="0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2836" rIns="22836"/>
          <a:lstStyle/>
          <a:p>
            <a:pPr defTabSz="1217024">
              <a:defRPr>
                <a:latin typeface="Arial"/>
                <a:ea typeface="Arial"/>
                <a:cs typeface="Arial"/>
                <a:sym typeface="Arial"/>
              </a:defRPr>
            </a:pPr>
            <a:endParaRPr sz="1200" dirty="0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54" name="Marcador de texto 7">
            <a:extLst>
              <a:ext uri="{FF2B5EF4-FFF2-40B4-BE49-F238E27FC236}">
                <a16:creationId xmlns:a16="http://schemas.microsoft.com/office/drawing/2014/main" xmlns="" id="{42F8710E-2DE8-074A-B6FC-EE460A7B8A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10354" y="2750750"/>
            <a:ext cx="1266273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73" name="Marcador de texto 7">
            <a:extLst>
              <a:ext uri="{FF2B5EF4-FFF2-40B4-BE49-F238E27FC236}">
                <a16:creationId xmlns:a16="http://schemas.microsoft.com/office/drawing/2014/main" xmlns="" id="{09EEDC92-36AB-3740-B395-D2782D6591A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29858" y="3613261"/>
            <a:ext cx="2401955" cy="22154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74" name="Conector recto 74">
            <a:extLst>
              <a:ext uri="{FF2B5EF4-FFF2-40B4-BE49-F238E27FC236}">
                <a16:creationId xmlns:a16="http://schemas.microsoft.com/office/drawing/2014/main" xmlns="" id="{1892524C-5625-4F43-95F1-2336FF662D99}"/>
              </a:ext>
            </a:extLst>
          </p:cNvPr>
          <p:cNvSpPr/>
          <p:nvPr userDrawn="1"/>
        </p:nvSpPr>
        <p:spPr>
          <a:xfrm flipH="1">
            <a:off x="9326700" y="3340780"/>
            <a:ext cx="2405113" cy="0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2836" rIns="22836"/>
          <a:lstStyle/>
          <a:p>
            <a:pPr defTabSz="1217024">
              <a:defRPr>
                <a:latin typeface="Arial"/>
                <a:ea typeface="Arial"/>
                <a:cs typeface="Arial"/>
                <a:sym typeface="Arial"/>
              </a:defRPr>
            </a:pPr>
            <a:endParaRPr sz="1200" dirty="0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75" name="Marcador de texto 7">
            <a:extLst>
              <a:ext uri="{FF2B5EF4-FFF2-40B4-BE49-F238E27FC236}">
                <a16:creationId xmlns:a16="http://schemas.microsoft.com/office/drawing/2014/main" xmlns="" id="{FBDEA04A-F7FF-7A4B-A6D6-7B80347F9CC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488936" y="2750750"/>
            <a:ext cx="1327750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</a:p>
          <a:p>
            <a:pPr lvl="0"/>
            <a:endParaRPr lang="es-CL" dirty="0"/>
          </a:p>
        </p:txBody>
      </p:sp>
      <p:sp>
        <p:nvSpPr>
          <p:cNvPr id="79" name="Marcador de texto 7">
            <a:extLst>
              <a:ext uri="{FF2B5EF4-FFF2-40B4-BE49-F238E27FC236}">
                <a16:creationId xmlns:a16="http://schemas.microsoft.com/office/drawing/2014/main" xmlns="" id="{F5423D24-59DD-744A-8BC7-9DE94EAB413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385924" y="3613261"/>
            <a:ext cx="2401955" cy="22154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80" name="Conector recto 74">
            <a:extLst>
              <a:ext uri="{FF2B5EF4-FFF2-40B4-BE49-F238E27FC236}">
                <a16:creationId xmlns:a16="http://schemas.microsoft.com/office/drawing/2014/main" xmlns="" id="{4B745506-C1E7-2346-B2DA-DBC633F63A51}"/>
              </a:ext>
            </a:extLst>
          </p:cNvPr>
          <p:cNvSpPr/>
          <p:nvPr userDrawn="1"/>
        </p:nvSpPr>
        <p:spPr>
          <a:xfrm flipH="1">
            <a:off x="6385924" y="3340780"/>
            <a:ext cx="2405113" cy="0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2836" rIns="22836"/>
          <a:lstStyle/>
          <a:p>
            <a:pPr defTabSz="1217024">
              <a:defRPr>
                <a:latin typeface="Arial"/>
                <a:ea typeface="Arial"/>
                <a:cs typeface="Arial"/>
                <a:sym typeface="Arial"/>
              </a:defRPr>
            </a:pPr>
            <a:endParaRPr sz="1200" dirty="0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81" name="Marcador de texto 7">
            <a:extLst>
              <a:ext uri="{FF2B5EF4-FFF2-40B4-BE49-F238E27FC236}">
                <a16:creationId xmlns:a16="http://schemas.microsoft.com/office/drawing/2014/main" xmlns="" id="{A81970EB-E356-9143-BA0B-A32ACF22649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552516" y="2750750"/>
            <a:ext cx="1399329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85" name="Marcador de texto 7">
            <a:extLst>
              <a:ext uri="{FF2B5EF4-FFF2-40B4-BE49-F238E27FC236}">
                <a16:creationId xmlns:a16="http://schemas.microsoft.com/office/drawing/2014/main" xmlns="" id="{CBB12395-7669-B540-A483-15E3C0663AA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415454" y="3613261"/>
            <a:ext cx="2401955" cy="22154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tx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86" name="Conector recto 74">
            <a:extLst>
              <a:ext uri="{FF2B5EF4-FFF2-40B4-BE49-F238E27FC236}">
                <a16:creationId xmlns:a16="http://schemas.microsoft.com/office/drawing/2014/main" xmlns="" id="{F48F5271-2008-8D47-8756-E000ADACC1E6}"/>
              </a:ext>
            </a:extLst>
          </p:cNvPr>
          <p:cNvSpPr/>
          <p:nvPr userDrawn="1"/>
        </p:nvSpPr>
        <p:spPr>
          <a:xfrm flipH="1">
            <a:off x="3415452" y="3340780"/>
            <a:ext cx="2405113" cy="0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2836" rIns="22836"/>
          <a:lstStyle/>
          <a:p>
            <a:pPr defTabSz="1217024">
              <a:defRPr>
                <a:latin typeface="Arial"/>
                <a:ea typeface="Arial"/>
                <a:cs typeface="Arial"/>
                <a:sym typeface="Arial"/>
              </a:defRPr>
            </a:pPr>
            <a:endParaRPr sz="1200" dirty="0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87" name="Marcador de texto 7">
            <a:extLst>
              <a:ext uri="{FF2B5EF4-FFF2-40B4-BE49-F238E27FC236}">
                <a16:creationId xmlns:a16="http://schemas.microsoft.com/office/drawing/2014/main" xmlns="" id="{A9A75FA4-4920-B749-9B33-9A58CCB533B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70170" y="2750750"/>
            <a:ext cx="1340337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38" name="Marcador de texto 7">
            <a:extLst>
              <a:ext uri="{FF2B5EF4-FFF2-40B4-BE49-F238E27FC236}">
                <a16:creationId xmlns:a16="http://schemas.microsoft.com/office/drawing/2014/main" xmlns="" id="{0A11C487-0115-5F4D-9992-15BD35A4BCB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sp>
        <p:nvSpPr>
          <p:cNvPr id="42" name="Marcador de posición de imagen 3">
            <a:extLst>
              <a:ext uri="{FF2B5EF4-FFF2-40B4-BE49-F238E27FC236}">
                <a16:creationId xmlns:a16="http://schemas.microsoft.com/office/drawing/2014/main" xmlns="" id="{0E8ACCB5-DDCA-6E42-A59F-C19DA54AD941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451283" y="2552286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43" name="Marcador de posición de imagen 3">
            <a:extLst>
              <a:ext uri="{FF2B5EF4-FFF2-40B4-BE49-F238E27FC236}">
                <a16:creationId xmlns:a16="http://schemas.microsoft.com/office/drawing/2014/main" xmlns="" id="{A6B8CBED-9A8C-2E41-87A9-A4B4A73095C3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3415453" y="2552286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44" name="Marcador de posición de imagen 3">
            <a:extLst>
              <a:ext uri="{FF2B5EF4-FFF2-40B4-BE49-F238E27FC236}">
                <a16:creationId xmlns:a16="http://schemas.microsoft.com/office/drawing/2014/main" xmlns="" id="{F8CBC851-6BCB-564E-829F-58E5E2D2ABA4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6385928" y="2552286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45" name="Marcador de posición de imagen 3">
            <a:extLst>
              <a:ext uri="{FF2B5EF4-FFF2-40B4-BE49-F238E27FC236}">
                <a16:creationId xmlns:a16="http://schemas.microsoft.com/office/drawing/2014/main" xmlns="" id="{34ABF4E0-6CDE-E249-95A2-A7A05A1C8A22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9334224" y="2552286"/>
            <a:ext cx="772334" cy="661702"/>
          </a:xfrm>
          <a:prstGeom prst="rect">
            <a:avLst/>
          </a:prstGeom>
        </p:spPr>
        <p:txBody>
          <a:bodyPr anchor="ctr"/>
          <a:lstStyle>
            <a:lvl1pPr marL="232227" marR="0" indent="-232227" algn="l" defTabSz="928304" rtl="0" eaLnBrk="1" latinLnBrk="0" hangingPunct="1">
              <a:lnSpc>
                <a:spcPct val="90000"/>
              </a:lnSpc>
              <a:spcBef>
                <a:spcPts val="1714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cxnSp>
        <p:nvCxnSpPr>
          <p:cNvPr id="24" name="Conector recto 23">
            <a:extLst>
              <a:ext uri="{FF2B5EF4-FFF2-40B4-BE49-F238E27FC236}">
                <a16:creationId xmlns:a16="http://schemas.microsoft.com/office/drawing/2014/main" xmlns="" id="{2EB6015A-54E5-CE40-8931-D2744599943C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5" name="Marcador de texto 7">
            <a:extLst>
              <a:ext uri="{FF2B5EF4-FFF2-40B4-BE49-F238E27FC236}">
                <a16:creationId xmlns:a16="http://schemas.microsoft.com/office/drawing/2014/main" xmlns="" id="{9F9272ED-A3F0-4441-B27D-226E5493742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  <p:sp>
        <p:nvSpPr>
          <p:cNvPr id="26" name="Marcador de número de diapositiva 1">
            <a:extLst>
              <a:ext uri="{FF2B5EF4-FFF2-40B4-BE49-F238E27FC236}">
                <a16:creationId xmlns:a16="http://schemas.microsoft.com/office/drawing/2014/main" xmlns="" id="{291A3B44-4A83-A74C-8554-067ABD362AD5}"/>
              </a:ext>
            </a:extLst>
          </p:cNvPr>
          <p:cNvSpPr>
            <a:spLocks noGrp="1"/>
          </p:cNvSpPr>
          <p:nvPr>
            <p:ph type="sldNum" sz="quarter" idx="53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8A8A8A"/>
                </a:solidFill>
              </a:rPr>
              <a:pPr/>
              <a:t>‹Nº›</a:t>
            </a:fld>
            <a:endParaRPr lang="es-CL" dirty="0">
              <a:solidFill>
                <a:srgbClr val="8A8A8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997027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1" userDrawn="1">
          <p15:clr>
            <a:srgbClr val="FBAE40"/>
          </p15:clr>
        </p15:guide>
        <p15:guide id="2" pos="213" userDrawn="1">
          <p15:clr>
            <a:srgbClr val="FBAE40"/>
          </p15:clr>
        </p15:guide>
        <p15:guide id="3" pos="1371" userDrawn="1">
          <p15:clr>
            <a:srgbClr val="FBAE40"/>
          </p15:clr>
        </p15:guide>
        <p15:guide id="4" orient="horz" pos="219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:a16="http://schemas.microsoft.com/office/drawing/2014/main" xmlns="" id="{B27FC5C6-A3C9-B245-94AB-13439C5977E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31750" y="-19139"/>
            <a:ext cx="12263906" cy="6917574"/>
          </a:xfrm>
          <a:prstGeom prst="rect">
            <a:avLst/>
          </a:prstGeom>
        </p:spPr>
      </p:pic>
      <p:pic>
        <p:nvPicPr>
          <p:cNvPr id="11" name="Imagen 10">
            <a:extLst>
              <a:ext uri="{FF2B5EF4-FFF2-40B4-BE49-F238E27FC236}">
                <a16:creationId xmlns:a16="http://schemas.microsoft.com/office/drawing/2014/main" xmlns="" id="{18404275-C21C-B344-92AA-B363C5F8F24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cxnSp>
        <p:nvCxnSpPr>
          <p:cNvPr id="12" name="Conector recto 11">
            <a:extLst>
              <a:ext uri="{FF2B5EF4-FFF2-40B4-BE49-F238E27FC236}">
                <a16:creationId xmlns:a16="http://schemas.microsoft.com/office/drawing/2014/main" xmlns="" id="{2E94A797-3320-F543-B24F-6FE8F5A4A301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rgbClr val="0D693C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23191713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olo texto y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3" name="Marcador de texto 2">
            <a:extLst>
              <a:ext uri="{FF2B5EF4-FFF2-40B4-BE49-F238E27FC236}">
                <a16:creationId xmlns:a16="http://schemas.microsoft.com/office/drawing/2014/main" xmlns="" id="{79371C62-644E-E74F-8E59-C3049417716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3765" y="1620839"/>
            <a:ext cx="11292564" cy="479821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defRPr sz="1697">
                <a:solidFill>
                  <a:srgbClr val="5F5F5F"/>
                </a:solidFill>
              </a:defRPr>
            </a:lvl1pPr>
            <a:lvl2pPr marL="675507" indent="-371055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600" b="0" i="0" u="none" strike="noStrike" cap="none" spc="0" baseline="0" dirty="0" smtClean="0">
                <a:solidFill>
                  <a:srgbClr val="5F5F5F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29120" indent="-332997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:asvg="http://schemas.microsoft.com/office/drawing/2016/SVG/main" xmlns="" r:embed="rId4"/>
                    </a:ext>
                  </a:extLst>
                </a:blip>
              </a:buBlip>
              <a:tabLst/>
              <a:defRPr sz="1400">
                <a:solidFill>
                  <a:srgbClr val="5F5F5F"/>
                </a:solidFill>
              </a:defRPr>
            </a:lvl3pPr>
            <a:lvl4pPr marL="1340709" indent="-332204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:asvg="http://schemas.microsoft.com/office/drawing/2016/SVG/main" xmlns="" r:embed="rId4"/>
                    </a:ext>
                  </a:extLst>
                </a:blip>
              </a:buBlip>
              <a:tabLst/>
              <a:defRPr sz="1400">
                <a:solidFill>
                  <a:srgbClr val="5F5F5F"/>
                </a:solidFill>
              </a:defRPr>
            </a:lvl4pPr>
            <a:lvl5pPr marL="1673706" indent="-363919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:asvg="http://schemas.microsoft.com/office/drawing/2016/SVG/main" xmlns="" r:embed="rId4"/>
                    </a:ext>
                  </a:extLst>
                </a:blip>
              </a:buBlip>
              <a:tabLst>
                <a:tab pos="1569843" algn="l"/>
              </a:tabLst>
              <a:defRPr sz="1400">
                <a:solidFill>
                  <a:srgbClr val="5F5F5F"/>
                </a:solidFill>
              </a:defRPr>
            </a:lvl5pPr>
          </a:lstStyle>
          <a:p>
            <a:pPr lvl="0"/>
            <a:r>
              <a:rPr lang="es-ES" dirty="0"/>
              <a:t>Párrafo sólo texto Arial 17</a:t>
            </a:r>
          </a:p>
          <a:p>
            <a:pPr lvl="1"/>
            <a:r>
              <a:rPr lang="es-ES" dirty="0" err="1"/>
              <a:t>Bullet</a:t>
            </a:r>
            <a:r>
              <a:rPr lang="es-ES" dirty="0"/>
              <a:t> Arial 16</a:t>
            </a:r>
          </a:p>
          <a:p>
            <a:pPr lvl="2"/>
            <a:r>
              <a:rPr lang="es-ES" dirty="0"/>
              <a:t>Sub </a:t>
            </a:r>
            <a:r>
              <a:rPr lang="es-ES" dirty="0" err="1"/>
              <a:t>Bullet</a:t>
            </a:r>
            <a:r>
              <a:rPr lang="es-ES" dirty="0"/>
              <a:t>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10" name="Marcador de número de diapositiva 1">
            <a:extLst>
              <a:ext uri="{FF2B5EF4-FFF2-40B4-BE49-F238E27FC236}">
                <a16:creationId xmlns:a16="http://schemas.microsoft.com/office/drawing/2014/main" xmlns="" id="{29A3CDD8-DB45-3C4B-9DEB-D4CFB5DFC35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8A8A8A"/>
                </a:solidFill>
              </a:rPr>
              <a:pPr/>
              <a:t>‹Nº›</a:t>
            </a:fld>
            <a:endParaRPr lang="es-CL" dirty="0">
              <a:solidFill>
                <a:srgbClr val="8A8A8A"/>
              </a:solidFill>
            </a:endParaRPr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xmlns="" id="{253576B9-B83C-5443-BD15-16C8689F59A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1" name="Conector recto 10">
            <a:extLst>
              <a:ext uri="{FF2B5EF4-FFF2-40B4-BE49-F238E27FC236}">
                <a16:creationId xmlns:a16="http://schemas.microsoft.com/office/drawing/2014/main" xmlns="" id="{DB116DFD-5134-FA4F-91F9-1CCA47213E9A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2" name="Marcador de texto 7">
            <a:extLst>
              <a:ext uri="{FF2B5EF4-FFF2-40B4-BE49-F238E27FC236}">
                <a16:creationId xmlns:a16="http://schemas.microsoft.com/office/drawing/2014/main" xmlns="" id="{862270DA-512C-4649-A656-87AADE14886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76490689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46" userDrawn="1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Solo texto y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Marcador de medios 8">
            <a:extLst>
              <a:ext uri="{FF2B5EF4-FFF2-40B4-BE49-F238E27FC236}">
                <a16:creationId xmlns:a16="http://schemas.microsoft.com/office/drawing/2014/main" xmlns="" id="{B50F09F5-DFBA-914B-B374-0A611E354B16}"/>
              </a:ext>
            </a:extLst>
          </p:cNvPr>
          <p:cNvSpPr>
            <a:spLocks noGrp="1"/>
          </p:cNvSpPr>
          <p:nvPr>
            <p:ph type="media" sz="quarter" idx="14" hasCustomPrompt="1"/>
          </p:nvPr>
        </p:nvSpPr>
        <p:spPr>
          <a:xfrm>
            <a:off x="1" y="0"/>
            <a:ext cx="12193588" cy="68580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b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s-CL" dirty="0"/>
              <a:t>Insertar Video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8" name="Marcador de texto 7">
            <a:extLst>
              <a:ext uri="{FF2B5EF4-FFF2-40B4-BE49-F238E27FC236}">
                <a16:creationId xmlns:a16="http://schemas.microsoft.com/office/drawing/2014/main" xmlns="" id="{253576B9-B83C-5443-BD15-16C8689F59A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1"/>
                </a:solidFill>
                <a:highlight>
                  <a:srgbClr val="004F59"/>
                </a:highlight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xmlns="" id="{862270DA-512C-4649-A656-87AADE14886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bg1"/>
                </a:solidFill>
                <a:highlight>
                  <a:srgbClr val="004F59"/>
                </a:highlight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  <p:cxnSp>
        <p:nvCxnSpPr>
          <p:cNvPr id="14" name="Conector recto 13">
            <a:extLst>
              <a:ext uri="{FF2B5EF4-FFF2-40B4-BE49-F238E27FC236}">
                <a16:creationId xmlns:a16="http://schemas.microsoft.com/office/drawing/2014/main" xmlns="" id="{1BDF212F-F0A1-C249-8021-3BAB18C79B0E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bg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16058634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46" userDrawn="1">
          <p15:clr>
            <a:srgbClr val="FBAE40"/>
          </p15:clr>
        </p15:guide>
        <p15:guide id="2" pos="2926" userDrawn="1">
          <p15:clr>
            <a:srgbClr val="FBAE40"/>
          </p15:clr>
        </p15:guide>
        <p15:guide id="3" pos="1423" userDrawn="1">
          <p15:clr>
            <a:srgbClr val="FBAE40"/>
          </p15:clr>
        </p15:guide>
        <p15:guide id="4" pos="4491" userDrawn="1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Solo texto y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8" name="Marcador de texto 7">
            <a:extLst>
              <a:ext uri="{FF2B5EF4-FFF2-40B4-BE49-F238E27FC236}">
                <a16:creationId xmlns:a16="http://schemas.microsoft.com/office/drawing/2014/main" xmlns="" id="{253576B9-B83C-5443-BD15-16C8689F59A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1" name="Conector recto 10">
            <a:extLst>
              <a:ext uri="{FF2B5EF4-FFF2-40B4-BE49-F238E27FC236}">
                <a16:creationId xmlns:a16="http://schemas.microsoft.com/office/drawing/2014/main" xmlns="" id="{DB116DFD-5134-FA4F-91F9-1CCA47213E9A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2" name="Marcador de texto 7">
            <a:extLst>
              <a:ext uri="{FF2B5EF4-FFF2-40B4-BE49-F238E27FC236}">
                <a16:creationId xmlns:a16="http://schemas.microsoft.com/office/drawing/2014/main" xmlns="" id="{862270DA-512C-4649-A656-87AADE14886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accent3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  <p:sp>
        <p:nvSpPr>
          <p:cNvPr id="7" name="Marcador de texto 2">
            <a:extLst>
              <a:ext uri="{FF2B5EF4-FFF2-40B4-BE49-F238E27FC236}">
                <a16:creationId xmlns:a16="http://schemas.microsoft.com/office/drawing/2014/main" xmlns="" id="{E9B64F24-F822-574E-B187-6EE8A12CB40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3770" y="1620839"/>
            <a:ext cx="5083112" cy="645284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defRPr sz="1697" b="1">
                <a:solidFill>
                  <a:schemeClr val="tx1"/>
                </a:solidFill>
              </a:defRPr>
            </a:lvl1pPr>
            <a:lvl2pPr marL="675507" indent="-371055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600" b="0" i="0" u="none" strike="noStrike" cap="none" spc="0" baseline="0" dirty="0" smtClean="0">
                <a:solidFill>
                  <a:srgbClr val="5F5F5F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29120" indent="-332997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:asvg="http://schemas.microsoft.com/office/drawing/2016/SVG/main" xmlns="" r:embed="rId4"/>
                    </a:ext>
                  </a:extLst>
                </a:blip>
              </a:buBlip>
              <a:tabLst/>
              <a:defRPr sz="1400">
                <a:solidFill>
                  <a:srgbClr val="5F5F5F"/>
                </a:solidFill>
              </a:defRPr>
            </a:lvl3pPr>
            <a:lvl4pPr marL="1340709" indent="-332204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:asvg="http://schemas.microsoft.com/office/drawing/2016/SVG/main" xmlns="" r:embed="rId4"/>
                    </a:ext>
                  </a:extLst>
                </a:blip>
              </a:buBlip>
              <a:tabLst/>
              <a:defRPr sz="1400">
                <a:solidFill>
                  <a:srgbClr val="5F5F5F"/>
                </a:solidFill>
              </a:defRPr>
            </a:lvl4pPr>
            <a:lvl5pPr marL="1673706" indent="-363919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:asvg="http://schemas.microsoft.com/office/drawing/2016/SVG/main" xmlns="" r:embed="rId4"/>
                    </a:ext>
                  </a:extLst>
                </a:blip>
              </a:buBlip>
              <a:tabLst>
                <a:tab pos="1569843" algn="l"/>
              </a:tabLst>
              <a:defRPr sz="1400">
                <a:solidFill>
                  <a:srgbClr val="5F5F5F"/>
                </a:solidFill>
              </a:defRPr>
            </a:lvl5pPr>
          </a:lstStyle>
          <a:p>
            <a:pPr lvl="0"/>
            <a:r>
              <a:rPr lang="es-ES" dirty="0"/>
              <a:t>Párrafo sólo texto Arial 17</a:t>
            </a:r>
            <a:endParaRPr lang="es-CL" dirty="0"/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xmlns="" id="{4A94FAB7-6C84-9C45-B972-6903FF920FC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390808" y="2120356"/>
            <a:ext cx="3173463" cy="4340777"/>
          </a:xfrm>
          <a:prstGeom prst="rect">
            <a:avLst/>
          </a:prstGeom>
        </p:spPr>
      </p:pic>
      <p:sp>
        <p:nvSpPr>
          <p:cNvPr id="10" name="Marcador de texto 2">
            <a:extLst>
              <a:ext uri="{FF2B5EF4-FFF2-40B4-BE49-F238E27FC236}">
                <a16:creationId xmlns:a16="http://schemas.microsoft.com/office/drawing/2014/main" xmlns="" id="{DEC83E7D-5280-9340-AA1D-4E0B3B7B13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45048" y="1620839"/>
            <a:ext cx="4797912" cy="645284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defRPr sz="1697" b="1">
                <a:solidFill>
                  <a:schemeClr val="tx1"/>
                </a:solidFill>
              </a:defRPr>
            </a:lvl1pPr>
            <a:lvl2pPr marL="675507" indent="-371055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600" b="0" i="0" u="none" strike="noStrike" cap="none" spc="0" baseline="0" dirty="0" smtClean="0">
                <a:solidFill>
                  <a:srgbClr val="5F5F5F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29120" indent="-332997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:asvg="http://schemas.microsoft.com/office/drawing/2016/SVG/main" xmlns="" r:embed="rId4"/>
                    </a:ext>
                  </a:extLst>
                </a:blip>
              </a:buBlip>
              <a:tabLst/>
              <a:defRPr sz="1400">
                <a:solidFill>
                  <a:srgbClr val="5F5F5F"/>
                </a:solidFill>
              </a:defRPr>
            </a:lvl3pPr>
            <a:lvl4pPr marL="1340709" indent="-332204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:asvg="http://schemas.microsoft.com/office/drawing/2016/SVG/main" xmlns="" r:embed="rId4"/>
                    </a:ext>
                  </a:extLst>
                </a:blip>
              </a:buBlip>
              <a:tabLst/>
              <a:defRPr sz="1400">
                <a:solidFill>
                  <a:srgbClr val="5F5F5F"/>
                </a:solidFill>
              </a:defRPr>
            </a:lvl4pPr>
            <a:lvl5pPr marL="1673706" indent="-363919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:asvg="http://schemas.microsoft.com/office/drawing/2016/SVG/main" xmlns="" r:embed="rId4"/>
                    </a:ext>
                  </a:extLst>
                </a:blip>
              </a:buBlip>
              <a:tabLst>
                <a:tab pos="1569843" algn="l"/>
              </a:tabLst>
              <a:defRPr sz="1400">
                <a:solidFill>
                  <a:srgbClr val="5F5F5F"/>
                </a:solidFill>
              </a:defRPr>
            </a:lvl5pPr>
          </a:lstStyle>
          <a:p>
            <a:pPr lvl="0"/>
            <a:r>
              <a:rPr lang="es-ES" dirty="0"/>
              <a:t>Párrafo sólo texto Arial 17</a:t>
            </a:r>
            <a:endParaRPr lang="es-CL" dirty="0"/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xmlns="" id="{5CB79A3D-90F5-2046-9941-CC131C5067AF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979672" y="2120356"/>
            <a:ext cx="4736779" cy="4340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767627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46" userDrawn="1">
          <p15:clr>
            <a:srgbClr val="FBAE40"/>
          </p15:clr>
        </p15:guide>
        <p15:guide id="2" pos="2926" userDrawn="1">
          <p15:clr>
            <a:srgbClr val="FBAE40"/>
          </p15:clr>
        </p15:guide>
        <p15:guide id="3" pos="1423" userDrawn="1">
          <p15:clr>
            <a:srgbClr val="FBAE40"/>
          </p15:clr>
        </p15:guide>
        <p15:guide id="4" pos="4491" userDrawn="1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Solo texto y bullet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3" name="Marcador de texto 2">
            <a:extLst>
              <a:ext uri="{FF2B5EF4-FFF2-40B4-BE49-F238E27FC236}">
                <a16:creationId xmlns:a16="http://schemas.microsoft.com/office/drawing/2014/main" xmlns="" id="{79371C62-644E-E74F-8E59-C3049417716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3765" y="1620839"/>
            <a:ext cx="11292564" cy="479821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defRPr sz="1697">
                <a:solidFill>
                  <a:schemeClr val="bg1"/>
                </a:solidFill>
              </a:defRPr>
            </a:lvl1pPr>
            <a:lvl2pPr marL="675507" indent="-371055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ct val="95000"/>
              <a:buFont typeface="Wingdings" pitchFamily="2" charset="2"/>
              <a:buChar char="§"/>
              <a:tabLst/>
              <a:defRPr lang="es-ES" sz="1600" b="0" i="0" u="none" strike="noStrike" cap="none" spc="0" baseline="0" dirty="0" smtClean="0">
                <a:solidFill>
                  <a:schemeClr val="bg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29120" indent="-332997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Tipo de letra del sistema regular"/>
              <a:buChar char="▫"/>
              <a:tabLst/>
              <a:defRPr sz="1400">
                <a:solidFill>
                  <a:schemeClr val="bg1"/>
                </a:solidFill>
              </a:defRPr>
            </a:lvl3pPr>
            <a:lvl4pPr marL="1340709" indent="-332204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Tipo de letra del sistema regular"/>
              <a:buChar char="▫"/>
              <a:tabLst/>
              <a:defRPr sz="1400">
                <a:solidFill>
                  <a:schemeClr val="bg1"/>
                </a:solidFill>
              </a:defRPr>
            </a:lvl4pPr>
            <a:lvl5pPr marL="1673706" indent="-363919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Tipo de letra del sistema regular"/>
              <a:buChar char="▫"/>
              <a:tabLst>
                <a:tab pos="1569843" algn="l"/>
              </a:tabLst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Párrafo sólo texto Arial 17</a:t>
            </a:r>
          </a:p>
          <a:p>
            <a:pPr lvl="1"/>
            <a:r>
              <a:rPr lang="es-ES" dirty="0" err="1"/>
              <a:t>Bullet</a:t>
            </a:r>
            <a:r>
              <a:rPr lang="es-ES" dirty="0"/>
              <a:t> Arial 16</a:t>
            </a:r>
          </a:p>
          <a:p>
            <a:pPr lvl="2"/>
            <a:r>
              <a:rPr lang="es-ES" dirty="0"/>
              <a:t>Sub </a:t>
            </a:r>
            <a:r>
              <a:rPr lang="es-ES" dirty="0" err="1"/>
              <a:t>Bullet</a:t>
            </a:r>
            <a:r>
              <a:rPr lang="es-ES" dirty="0"/>
              <a:t>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10" name="Marcador de número de diapositiva 1">
            <a:extLst>
              <a:ext uri="{FF2B5EF4-FFF2-40B4-BE49-F238E27FC236}">
                <a16:creationId xmlns:a16="http://schemas.microsoft.com/office/drawing/2014/main" xmlns="" id="{29A3CDD8-DB45-3C4B-9DEB-D4CFB5DFC35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FFFFFF"/>
                </a:solidFill>
              </a:rPr>
              <a:pPr/>
              <a:t>‹Nº›</a:t>
            </a:fld>
            <a:endParaRPr lang="es-CL" dirty="0">
              <a:solidFill>
                <a:srgbClr val="FFFFFF"/>
              </a:solidFill>
            </a:endParaRPr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xmlns="" id="{253576B9-B83C-5443-BD15-16C8689F59A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1" name="Conector recto 10">
            <a:extLst>
              <a:ext uri="{FF2B5EF4-FFF2-40B4-BE49-F238E27FC236}">
                <a16:creationId xmlns:a16="http://schemas.microsoft.com/office/drawing/2014/main" xmlns="" id="{DB116DFD-5134-FA4F-91F9-1CCA47213E9A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2" name="Marcador de texto 7">
            <a:extLst>
              <a:ext uri="{FF2B5EF4-FFF2-40B4-BE49-F238E27FC236}">
                <a16:creationId xmlns:a16="http://schemas.microsoft.com/office/drawing/2014/main" xmlns="" id="{862270DA-512C-4649-A656-87AADE14886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accent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2977338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46" userDrawn="1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Solo texto y bullets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3" name="Marcador de texto 2">
            <a:extLst>
              <a:ext uri="{FF2B5EF4-FFF2-40B4-BE49-F238E27FC236}">
                <a16:creationId xmlns:a16="http://schemas.microsoft.com/office/drawing/2014/main" xmlns="" id="{79371C62-644E-E74F-8E59-C3049417716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3765" y="1620839"/>
            <a:ext cx="11292564" cy="479821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defRPr sz="1697">
                <a:solidFill>
                  <a:srgbClr val="5F5F5F"/>
                </a:solidFill>
              </a:defRPr>
            </a:lvl1pPr>
            <a:lvl2pPr marL="675507" indent="-371055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600" b="0" i="0" u="none" strike="noStrike" cap="none" spc="0" baseline="0" dirty="0" smtClean="0">
                <a:solidFill>
                  <a:srgbClr val="5F5F5F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29120" indent="-332997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:asvg="http://schemas.microsoft.com/office/drawing/2016/SVG/main" xmlns="" r:embed="rId4"/>
                    </a:ext>
                  </a:extLst>
                </a:blip>
              </a:buBlip>
              <a:tabLst/>
              <a:defRPr sz="1400">
                <a:solidFill>
                  <a:srgbClr val="5F5F5F"/>
                </a:solidFill>
              </a:defRPr>
            </a:lvl3pPr>
            <a:lvl4pPr marL="1340709" indent="-332204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:asvg="http://schemas.microsoft.com/office/drawing/2016/SVG/main" xmlns="" r:embed="rId4"/>
                    </a:ext>
                  </a:extLst>
                </a:blip>
              </a:buBlip>
              <a:tabLst/>
              <a:defRPr sz="1400">
                <a:solidFill>
                  <a:srgbClr val="5F5F5F"/>
                </a:solidFill>
              </a:defRPr>
            </a:lvl4pPr>
            <a:lvl5pPr marL="1673706" indent="-363919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:asvg="http://schemas.microsoft.com/office/drawing/2016/SVG/main" xmlns="" r:embed="rId4"/>
                    </a:ext>
                  </a:extLst>
                </a:blip>
              </a:buBlip>
              <a:tabLst>
                <a:tab pos="1569843" algn="l"/>
              </a:tabLst>
              <a:defRPr sz="1400">
                <a:solidFill>
                  <a:srgbClr val="5F5F5F"/>
                </a:solidFill>
              </a:defRPr>
            </a:lvl5pPr>
          </a:lstStyle>
          <a:p>
            <a:pPr lvl="0"/>
            <a:r>
              <a:rPr lang="es-ES" dirty="0"/>
              <a:t>Párrafo sólo texto Arial 17</a:t>
            </a:r>
          </a:p>
          <a:p>
            <a:pPr lvl="1"/>
            <a:r>
              <a:rPr lang="es-ES" dirty="0" err="1"/>
              <a:t>Bullet</a:t>
            </a:r>
            <a:r>
              <a:rPr lang="es-ES" dirty="0"/>
              <a:t> Arial 16</a:t>
            </a:r>
          </a:p>
          <a:p>
            <a:pPr lvl="2"/>
            <a:r>
              <a:rPr lang="es-ES" dirty="0"/>
              <a:t>Sub </a:t>
            </a:r>
            <a:r>
              <a:rPr lang="es-ES" dirty="0" err="1"/>
              <a:t>Bullet</a:t>
            </a:r>
            <a:r>
              <a:rPr lang="es-ES" dirty="0"/>
              <a:t>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10" name="Marcador de número de diapositiva 1">
            <a:extLst>
              <a:ext uri="{FF2B5EF4-FFF2-40B4-BE49-F238E27FC236}">
                <a16:creationId xmlns:a16="http://schemas.microsoft.com/office/drawing/2014/main" xmlns="" id="{29A3CDD8-DB45-3C4B-9DEB-D4CFB5DFC35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8A8A8A"/>
                </a:solidFill>
              </a:rPr>
              <a:pPr/>
              <a:t>‹Nº›</a:t>
            </a:fld>
            <a:endParaRPr lang="es-CL" dirty="0">
              <a:solidFill>
                <a:srgbClr val="8A8A8A"/>
              </a:solidFill>
            </a:endParaRPr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xmlns="" id="{253576B9-B83C-5443-BD15-16C8689F59A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1" name="Conector recto 10">
            <a:extLst>
              <a:ext uri="{FF2B5EF4-FFF2-40B4-BE49-F238E27FC236}">
                <a16:creationId xmlns:a16="http://schemas.microsoft.com/office/drawing/2014/main" xmlns="" id="{DB116DFD-5134-FA4F-91F9-1CCA47213E9A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2" name="Marcador de texto 7">
            <a:extLst>
              <a:ext uri="{FF2B5EF4-FFF2-40B4-BE49-F238E27FC236}">
                <a16:creationId xmlns:a16="http://schemas.microsoft.com/office/drawing/2014/main" xmlns="" id="{862270DA-512C-4649-A656-87AADE14886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14837552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46" userDrawn="1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Gris-con titulo y texto">
    <p:bg>
      <p:bgPr>
        <a:solidFill>
          <a:srgbClr val="5E5E5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>
            <a:extLst>
              <a:ext uri="{FF2B5EF4-FFF2-40B4-BE49-F238E27FC236}">
                <a16:creationId xmlns:a16="http://schemas.microsoft.com/office/drawing/2014/main" xmlns="" id="{643F07F7-0867-CD45-9983-D25FA61D8DC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3" name="Marcador de texto 2">
            <a:extLst>
              <a:ext uri="{FF2B5EF4-FFF2-40B4-BE49-F238E27FC236}">
                <a16:creationId xmlns:a16="http://schemas.microsoft.com/office/drawing/2014/main" xmlns="" id="{CBD9B6F1-F225-3642-A507-6C25CF73371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3765" y="1620839"/>
            <a:ext cx="11292564" cy="4798219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Tx/>
              <a:buNone/>
              <a:defRPr sz="1697">
                <a:solidFill>
                  <a:schemeClr val="bg1"/>
                </a:solidFill>
              </a:defRPr>
            </a:lvl1pPr>
            <a:lvl2pPr marL="675507" indent="-37105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600" b="0" i="0" u="none" strike="noStrike" cap="none" spc="0" baseline="0" dirty="0" smtClean="0">
                <a:solidFill>
                  <a:schemeClr val="bg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29120" indent="-332997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:asvg="http://schemas.microsoft.com/office/drawing/2016/SVG/main" xmlns="" r:embed="rId4"/>
                    </a:ext>
                  </a:extLst>
                </a:blip>
              </a:buBlip>
              <a:tabLst/>
              <a:defRPr sz="1400">
                <a:solidFill>
                  <a:schemeClr val="bg1"/>
                </a:solidFill>
              </a:defRPr>
            </a:lvl3pPr>
            <a:lvl4pPr marL="1340709" indent="-332204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:asvg="http://schemas.microsoft.com/office/drawing/2016/SVG/main" xmlns="" r:embed="rId4"/>
                    </a:ext>
                  </a:extLst>
                </a:blip>
              </a:buBlip>
              <a:tabLst/>
              <a:defRPr sz="1400">
                <a:solidFill>
                  <a:schemeClr val="bg1"/>
                </a:solidFill>
              </a:defRPr>
            </a:lvl4pPr>
            <a:lvl5pPr marL="1673706" indent="-363919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:asvg="http://schemas.microsoft.com/office/drawing/2016/SVG/main" xmlns="" r:embed="rId4"/>
                    </a:ext>
                  </a:extLst>
                </a:blip>
              </a:buBlip>
              <a:tabLst>
                <a:tab pos="1569843" algn="l"/>
              </a:tabLst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Párrafo sólo texto Arial 17</a:t>
            </a:r>
          </a:p>
          <a:p>
            <a:pPr lvl="1"/>
            <a:r>
              <a:rPr lang="es-ES" dirty="0" err="1"/>
              <a:t>Bullet</a:t>
            </a:r>
            <a:r>
              <a:rPr lang="es-ES" dirty="0"/>
              <a:t> Arial 16</a:t>
            </a:r>
          </a:p>
          <a:p>
            <a:pPr lvl="2"/>
            <a:r>
              <a:rPr lang="es-ES" dirty="0"/>
              <a:t>Sub </a:t>
            </a:r>
            <a:r>
              <a:rPr lang="es-ES" dirty="0" err="1"/>
              <a:t>Bullet</a:t>
            </a:r>
            <a:r>
              <a:rPr lang="es-ES" dirty="0"/>
              <a:t>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9" name="Marcador de número de diapositiva 1">
            <a:extLst>
              <a:ext uri="{FF2B5EF4-FFF2-40B4-BE49-F238E27FC236}">
                <a16:creationId xmlns:a16="http://schemas.microsoft.com/office/drawing/2014/main" xmlns="" id="{B6005794-B1A7-8346-8A09-45216AB23D5A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FFFFFF"/>
                </a:solidFill>
              </a:rPr>
              <a:pPr/>
              <a:t>‹Nº›</a:t>
            </a:fld>
            <a:endParaRPr lang="es-CL" dirty="0">
              <a:solidFill>
                <a:srgbClr val="FFFFFF"/>
              </a:solidFill>
            </a:endParaRPr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xmlns="" id="{2803C210-104B-0645-823D-B2A1204D96A9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538541" y="450851"/>
            <a:ext cx="8338558" cy="41291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2396" b="1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3" name="Conector recto 12">
            <a:extLst>
              <a:ext uri="{FF2B5EF4-FFF2-40B4-BE49-F238E27FC236}">
                <a16:creationId xmlns:a16="http://schemas.microsoft.com/office/drawing/2014/main" xmlns="" id="{BA48638C-BCB3-3740-A045-C812921D4987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4" name="Marcador de texto 7">
            <a:extLst>
              <a:ext uri="{FF2B5EF4-FFF2-40B4-BE49-F238E27FC236}">
                <a16:creationId xmlns:a16="http://schemas.microsoft.com/office/drawing/2014/main" xmlns="" id="{91AB0884-4043-5742-99DC-1D09567E9F3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8541" y="878297"/>
            <a:ext cx="8338558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996" b="0">
                <a:solidFill>
                  <a:schemeClr val="accent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037213164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Gris-con titulo y texto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>
            <a:extLst>
              <a:ext uri="{FF2B5EF4-FFF2-40B4-BE49-F238E27FC236}">
                <a16:creationId xmlns:a16="http://schemas.microsoft.com/office/drawing/2014/main" xmlns="" id="{643F07F7-0867-CD45-9983-D25FA61D8DC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3" name="Marcador de texto 2">
            <a:extLst>
              <a:ext uri="{FF2B5EF4-FFF2-40B4-BE49-F238E27FC236}">
                <a16:creationId xmlns:a16="http://schemas.microsoft.com/office/drawing/2014/main" xmlns="" id="{CBD9B6F1-F225-3642-A507-6C25CF73371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3765" y="1620839"/>
            <a:ext cx="11292564" cy="4798219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Tx/>
              <a:buNone/>
              <a:defRPr sz="1697">
                <a:solidFill>
                  <a:schemeClr val="bg1"/>
                </a:solidFill>
              </a:defRPr>
            </a:lvl1pPr>
            <a:lvl2pPr marL="675507" indent="-37105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600" b="0" i="0" u="none" strike="noStrike" cap="none" spc="0" baseline="0" dirty="0" smtClean="0">
                <a:solidFill>
                  <a:schemeClr val="bg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29120" indent="-332997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:asvg="http://schemas.microsoft.com/office/drawing/2016/SVG/main" xmlns="" r:embed="rId4"/>
                    </a:ext>
                  </a:extLst>
                </a:blip>
              </a:buBlip>
              <a:tabLst/>
              <a:defRPr sz="1400">
                <a:solidFill>
                  <a:schemeClr val="bg1"/>
                </a:solidFill>
              </a:defRPr>
            </a:lvl3pPr>
            <a:lvl4pPr marL="1340709" indent="-332204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:asvg="http://schemas.microsoft.com/office/drawing/2016/SVG/main" xmlns="" r:embed="rId4"/>
                    </a:ext>
                  </a:extLst>
                </a:blip>
              </a:buBlip>
              <a:tabLst/>
              <a:defRPr sz="1400">
                <a:solidFill>
                  <a:schemeClr val="bg1"/>
                </a:solidFill>
              </a:defRPr>
            </a:lvl4pPr>
            <a:lvl5pPr marL="1673706" indent="-363919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:asvg="http://schemas.microsoft.com/office/drawing/2016/SVG/main" xmlns="" r:embed="rId4"/>
                    </a:ext>
                  </a:extLst>
                </a:blip>
              </a:buBlip>
              <a:tabLst>
                <a:tab pos="1569843" algn="l"/>
              </a:tabLst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Párrafo sólo texto Arial 17</a:t>
            </a:r>
          </a:p>
          <a:p>
            <a:pPr lvl="1"/>
            <a:r>
              <a:rPr lang="es-ES" dirty="0" err="1"/>
              <a:t>Bullet</a:t>
            </a:r>
            <a:r>
              <a:rPr lang="es-ES" dirty="0"/>
              <a:t> Arial 16</a:t>
            </a:r>
          </a:p>
          <a:p>
            <a:pPr lvl="2"/>
            <a:r>
              <a:rPr lang="es-ES" dirty="0"/>
              <a:t>Sub </a:t>
            </a:r>
            <a:r>
              <a:rPr lang="es-ES" dirty="0" err="1"/>
              <a:t>Bullet</a:t>
            </a:r>
            <a:r>
              <a:rPr lang="es-ES" dirty="0"/>
              <a:t>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9" name="Marcador de número de diapositiva 1">
            <a:extLst>
              <a:ext uri="{FF2B5EF4-FFF2-40B4-BE49-F238E27FC236}">
                <a16:creationId xmlns:a16="http://schemas.microsoft.com/office/drawing/2014/main" xmlns="" id="{B6005794-B1A7-8346-8A09-45216AB23D5A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FFFFFF"/>
                </a:solidFill>
              </a:rPr>
              <a:pPr/>
              <a:t>‹Nº›</a:t>
            </a:fld>
            <a:endParaRPr lang="es-CL" dirty="0">
              <a:solidFill>
                <a:srgbClr val="FFFFFF"/>
              </a:solidFill>
            </a:endParaRPr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xmlns="" id="{2803C210-104B-0645-823D-B2A1204D96A9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538541" y="450851"/>
            <a:ext cx="8338558" cy="41291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2396" b="1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3" name="Conector recto 12">
            <a:extLst>
              <a:ext uri="{FF2B5EF4-FFF2-40B4-BE49-F238E27FC236}">
                <a16:creationId xmlns:a16="http://schemas.microsoft.com/office/drawing/2014/main" xmlns="" id="{BA48638C-BCB3-3740-A045-C812921D4987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4" name="Marcador de texto 7">
            <a:extLst>
              <a:ext uri="{FF2B5EF4-FFF2-40B4-BE49-F238E27FC236}">
                <a16:creationId xmlns:a16="http://schemas.microsoft.com/office/drawing/2014/main" xmlns="" id="{91AB0884-4043-5742-99DC-1D09567E9F3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8541" y="878297"/>
            <a:ext cx="8338558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996" b="0">
                <a:solidFill>
                  <a:schemeClr val="accent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29882209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Solo texto y bullet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3" name="Marcador de texto 2">
            <a:extLst>
              <a:ext uri="{FF2B5EF4-FFF2-40B4-BE49-F238E27FC236}">
                <a16:creationId xmlns:a16="http://schemas.microsoft.com/office/drawing/2014/main" xmlns="" id="{79371C62-644E-E74F-8E59-C3049417716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62049" y="2204864"/>
            <a:ext cx="5474279" cy="4145136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defRPr sz="1697">
                <a:solidFill>
                  <a:schemeClr val="bg1"/>
                </a:solidFill>
              </a:defRPr>
            </a:lvl1pPr>
            <a:lvl2pPr marL="675507" indent="-371055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Wingdings" pitchFamily="2" charset="2"/>
              <a:buChar char="§"/>
              <a:tabLst/>
              <a:defRPr lang="es-ES" sz="1600" b="0" i="0" u="none" strike="noStrike" cap="none" spc="0" baseline="0" dirty="0" smtClean="0">
                <a:solidFill>
                  <a:schemeClr val="bg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29120" indent="-332997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chemeClr val="bg1"/>
                </a:solidFill>
              </a:defRPr>
            </a:lvl3pPr>
            <a:lvl4pPr marL="1340709" indent="-332204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chemeClr val="bg1"/>
                </a:solidFill>
              </a:defRPr>
            </a:lvl4pPr>
            <a:lvl5pPr marL="1673706" indent="-363919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>
                <a:tab pos="1569843" algn="l"/>
              </a:tabLst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Párrafo texto Arial 17</a:t>
            </a:r>
          </a:p>
          <a:p>
            <a:pPr lvl="1"/>
            <a:r>
              <a:rPr lang="es-ES" dirty="0"/>
              <a:t>Segundo nivel Arial 16</a:t>
            </a:r>
          </a:p>
          <a:p>
            <a:pPr lvl="2"/>
            <a:r>
              <a:rPr lang="es-ES" dirty="0"/>
              <a:t>Tercer nivel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10" name="Marcador de texto 2">
            <a:extLst>
              <a:ext uri="{FF2B5EF4-FFF2-40B4-BE49-F238E27FC236}">
                <a16:creationId xmlns:a16="http://schemas.microsoft.com/office/drawing/2014/main" xmlns="" id="{46352864-5CDA-6748-9BE7-AB525715B10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7265" y="2204864"/>
            <a:ext cx="5474279" cy="4145136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defRPr sz="1697">
                <a:solidFill>
                  <a:schemeClr val="bg1"/>
                </a:solidFill>
              </a:defRPr>
            </a:lvl1pPr>
            <a:lvl2pPr marL="675507" indent="-371055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Wingdings" pitchFamily="2" charset="2"/>
              <a:buChar char="§"/>
              <a:tabLst/>
              <a:defRPr lang="es-ES" sz="1600" b="0" i="0" u="none" strike="noStrike" cap="none" spc="0" baseline="0" dirty="0" smtClean="0">
                <a:solidFill>
                  <a:schemeClr val="bg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29120" indent="-332997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chemeClr val="bg1"/>
                </a:solidFill>
              </a:defRPr>
            </a:lvl3pPr>
            <a:lvl4pPr marL="1340709" indent="-332204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chemeClr val="bg1"/>
                </a:solidFill>
              </a:defRPr>
            </a:lvl4pPr>
            <a:lvl5pPr marL="1673706" indent="-363919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>
                <a:tab pos="1569843" algn="l"/>
              </a:tabLst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Párrafo texto Arial 17</a:t>
            </a:r>
          </a:p>
          <a:p>
            <a:pPr lvl="1"/>
            <a:r>
              <a:rPr lang="es-ES" dirty="0"/>
              <a:t>Segundo nivel Arial 16</a:t>
            </a:r>
          </a:p>
          <a:p>
            <a:pPr lvl="2"/>
            <a:r>
              <a:rPr lang="es-ES" dirty="0"/>
              <a:t>Tercer nivel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11" name="Marcador de texto 7">
            <a:extLst>
              <a:ext uri="{FF2B5EF4-FFF2-40B4-BE49-F238E27FC236}">
                <a16:creationId xmlns:a16="http://schemas.microsoft.com/office/drawing/2014/main" xmlns="" id="{77E70C03-1C9A-9648-B425-8A31D2E87E4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59714" y="1608138"/>
            <a:ext cx="5460593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accent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xmlns="" id="{21A27CE4-2D15-A94A-A97D-35B2F8DDC91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62049" y="1608138"/>
            <a:ext cx="5460593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accent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421C23CA-A9EE-274A-A27A-3F1E699A6425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 flipH="1">
            <a:off x="427719" y="6587193"/>
            <a:ext cx="5492592" cy="174851"/>
          </a:xfrm>
          <a:noFill/>
          <a:effectLst/>
        </p:spPr>
        <p:txBody>
          <a:bodyPr wrap="square" lIns="0" tIns="0" rIns="0" bIns="36000">
            <a:spAutoFit/>
          </a:bodyPr>
          <a:lstStyle>
            <a:lvl1pPr marL="136370" indent="0">
              <a:tabLst/>
              <a:defRPr>
                <a:solidFill>
                  <a:schemeClr val="accent2"/>
                </a:solidFill>
              </a:defRPr>
            </a:lvl1pPr>
          </a:lstStyle>
          <a:p>
            <a:r>
              <a:rPr lang="es-ES_tradnl" dirty="0">
                <a:solidFill>
                  <a:srgbClr val="F2E500"/>
                </a:solidFill>
              </a:rPr>
              <a:t>Fuente o Pie de página Arial 9</a:t>
            </a:r>
          </a:p>
        </p:txBody>
      </p:sp>
      <p:sp>
        <p:nvSpPr>
          <p:cNvPr id="13" name="Marcador de texto 7">
            <a:extLst>
              <a:ext uri="{FF2B5EF4-FFF2-40B4-BE49-F238E27FC236}">
                <a16:creationId xmlns:a16="http://schemas.microsoft.com/office/drawing/2014/main" xmlns="" id="{DD32D3F5-60C4-4548-B9FD-5B2B534B5D5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7" name="Conector recto 16">
            <a:extLst>
              <a:ext uri="{FF2B5EF4-FFF2-40B4-BE49-F238E27FC236}">
                <a16:creationId xmlns:a16="http://schemas.microsoft.com/office/drawing/2014/main" xmlns="" id="{FC4CE323-2991-0741-84BF-4FC66AF6EEA5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8" name="Marcador de texto 7">
            <a:extLst>
              <a:ext uri="{FF2B5EF4-FFF2-40B4-BE49-F238E27FC236}">
                <a16:creationId xmlns:a16="http://schemas.microsoft.com/office/drawing/2014/main" xmlns="" id="{A8F90AAC-3411-5E49-A60E-F9BE61D397F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accent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  <p:sp>
        <p:nvSpPr>
          <p:cNvPr id="14" name="Marcador de número de diapositiva 1">
            <a:extLst>
              <a:ext uri="{FF2B5EF4-FFF2-40B4-BE49-F238E27FC236}">
                <a16:creationId xmlns:a16="http://schemas.microsoft.com/office/drawing/2014/main" xmlns="" id="{CB5C4F44-F91F-5E4D-8C11-403F649E4C91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FFFFFF"/>
                </a:solidFill>
              </a:rPr>
              <a:pPr/>
              <a:t>‹Nº›</a:t>
            </a:fld>
            <a:endParaRPr lang="es-CL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332692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212" userDrawn="1">
          <p15:clr>
            <a:srgbClr val="FBAE40"/>
          </p15:clr>
        </p15:guide>
        <p15:guide id="2" pos="2926" userDrawn="1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Solo texto y bullets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3" name="Marcador de texto 2">
            <a:extLst>
              <a:ext uri="{FF2B5EF4-FFF2-40B4-BE49-F238E27FC236}">
                <a16:creationId xmlns:a16="http://schemas.microsoft.com/office/drawing/2014/main" xmlns="" id="{79371C62-644E-E74F-8E59-C3049417716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62049" y="2204864"/>
            <a:ext cx="5474279" cy="4145136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defRPr sz="1697">
                <a:solidFill>
                  <a:srgbClr val="5F5F5F"/>
                </a:solidFill>
              </a:defRPr>
            </a:lvl1pPr>
            <a:lvl2pPr marL="675507" indent="-371055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600" b="0" i="0" u="none" strike="noStrike" cap="none" spc="0" baseline="0" dirty="0" smtClean="0">
                <a:solidFill>
                  <a:srgbClr val="5F5F5F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29120" indent="-332997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rgbClr val="5F5F5F"/>
                </a:solidFill>
              </a:defRPr>
            </a:lvl3pPr>
            <a:lvl4pPr marL="1340709" indent="-332204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rgbClr val="5F5F5F"/>
                </a:solidFill>
              </a:defRPr>
            </a:lvl4pPr>
            <a:lvl5pPr marL="1673706" indent="-363919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>
                <a:tab pos="1569843" algn="l"/>
              </a:tabLst>
              <a:defRPr sz="1400">
                <a:solidFill>
                  <a:srgbClr val="5F5F5F"/>
                </a:solidFill>
              </a:defRPr>
            </a:lvl5pPr>
          </a:lstStyle>
          <a:p>
            <a:pPr lvl="0"/>
            <a:r>
              <a:rPr lang="es-ES" dirty="0"/>
              <a:t>Párrafo texto Arial 17</a:t>
            </a:r>
          </a:p>
          <a:p>
            <a:pPr lvl="1"/>
            <a:r>
              <a:rPr lang="es-ES" dirty="0"/>
              <a:t>Segundo nivel Arial 16</a:t>
            </a:r>
          </a:p>
          <a:p>
            <a:pPr lvl="2"/>
            <a:r>
              <a:rPr lang="es-ES" dirty="0"/>
              <a:t>Tercer nivel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10" name="Marcador de texto 2">
            <a:extLst>
              <a:ext uri="{FF2B5EF4-FFF2-40B4-BE49-F238E27FC236}">
                <a16:creationId xmlns:a16="http://schemas.microsoft.com/office/drawing/2014/main" xmlns="" id="{46352864-5CDA-6748-9BE7-AB525715B10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46031" y="2204864"/>
            <a:ext cx="5474279" cy="4145136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defRPr sz="1697">
                <a:solidFill>
                  <a:srgbClr val="5F5F5F"/>
                </a:solidFill>
              </a:defRPr>
            </a:lvl1pPr>
            <a:lvl2pPr marL="675507" indent="-371055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600" b="0" i="0" u="none" strike="noStrike" cap="none" spc="0" baseline="0" dirty="0" smtClean="0">
                <a:solidFill>
                  <a:srgbClr val="5F5F5F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29120" indent="-332997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rgbClr val="5F5F5F"/>
                </a:solidFill>
              </a:defRPr>
            </a:lvl3pPr>
            <a:lvl4pPr marL="1340709" indent="-332204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rgbClr val="5F5F5F"/>
                </a:solidFill>
              </a:defRPr>
            </a:lvl4pPr>
            <a:lvl5pPr marL="1673706" indent="-363919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>
                <a:tab pos="1569843" algn="l"/>
              </a:tabLst>
              <a:defRPr sz="1400">
                <a:solidFill>
                  <a:srgbClr val="5F5F5F"/>
                </a:solidFill>
              </a:defRPr>
            </a:lvl5pPr>
          </a:lstStyle>
          <a:p>
            <a:pPr lvl="0"/>
            <a:r>
              <a:rPr lang="es-ES" dirty="0"/>
              <a:t>Párrafo texto Arial 17</a:t>
            </a:r>
          </a:p>
          <a:p>
            <a:pPr lvl="1"/>
            <a:r>
              <a:rPr lang="es-ES" dirty="0"/>
              <a:t>Segundo nivel Arial 16</a:t>
            </a:r>
          </a:p>
          <a:p>
            <a:pPr lvl="2"/>
            <a:r>
              <a:rPr lang="es-ES" dirty="0"/>
              <a:t>Tercer nivel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11" name="Marcador de texto 7">
            <a:extLst>
              <a:ext uri="{FF2B5EF4-FFF2-40B4-BE49-F238E27FC236}">
                <a16:creationId xmlns:a16="http://schemas.microsoft.com/office/drawing/2014/main" xmlns="" id="{77E70C03-1C9A-9648-B425-8A31D2E87E4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59714" y="1608138"/>
            <a:ext cx="5460593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xmlns="" id="{21A27CE4-2D15-A94A-A97D-35B2F8DDC91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62049" y="1608138"/>
            <a:ext cx="5460593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421C23CA-A9EE-274A-A27A-3F1E699A6425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 flipH="1">
            <a:off x="427719" y="6587193"/>
            <a:ext cx="5492592" cy="174851"/>
          </a:xfrm>
          <a:noFill/>
          <a:effectLst/>
        </p:spPr>
        <p:txBody>
          <a:bodyPr wrap="square" lIns="0" tIns="0" rIns="0" bIns="36000">
            <a:spAutoFit/>
          </a:bodyPr>
          <a:lstStyle>
            <a:lvl1pPr marL="136370" indent="0">
              <a:tabLst/>
              <a:defRPr/>
            </a:lvl1pPr>
          </a:lstStyle>
          <a:p>
            <a:r>
              <a:rPr lang="es-ES_tradnl" dirty="0">
                <a:solidFill>
                  <a:srgbClr val="616161"/>
                </a:solidFill>
              </a:rPr>
              <a:t>Fuente o Pie de página Arial 9</a:t>
            </a:r>
          </a:p>
        </p:txBody>
      </p:sp>
      <p:sp>
        <p:nvSpPr>
          <p:cNvPr id="13" name="Marcador de texto 7">
            <a:extLst>
              <a:ext uri="{FF2B5EF4-FFF2-40B4-BE49-F238E27FC236}">
                <a16:creationId xmlns:a16="http://schemas.microsoft.com/office/drawing/2014/main" xmlns="" id="{DD32D3F5-60C4-4548-B9FD-5B2B534B5D5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7" name="Conector recto 16">
            <a:extLst>
              <a:ext uri="{FF2B5EF4-FFF2-40B4-BE49-F238E27FC236}">
                <a16:creationId xmlns:a16="http://schemas.microsoft.com/office/drawing/2014/main" xmlns="" id="{FC4CE323-2991-0741-84BF-4FC66AF6EEA5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8" name="Marcador de texto 7">
            <a:extLst>
              <a:ext uri="{FF2B5EF4-FFF2-40B4-BE49-F238E27FC236}">
                <a16:creationId xmlns:a16="http://schemas.microsoft.com/office/drawing/2014/main" xmlns="" id="{A8F90AAC-3411-5E49-A60E-F9BE61D397F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bg1">
                    <a:lumMod val="50000"/>
                  </a:schemeClr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  <p:sp>
        <p:nvSpPr>
          <p:cNvPr id="14" name="Marcador de número de diapositiva 1">
            <a:extLst>
              <a:ext uri="{FF2B5EF4-FFF2-40B4-BE49-F238E27FC236}">
                <a16:creationId xmlns:a16="http://schemas.microsoft.com/office/drawing/2014/main" xmlns="" id="{0217BBB0-F8CF-654F-8533-C0D0CE94A1DF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tx2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616161"/>
                </a:solidFill>
              </a:rPr>
              <a:pPr/>
              <a:t>‹Nº›</a:t>
            </a:fld>
            <a:endParaRPr lang="es-CL" dirty="0">
              <a:solidFill>
                <a:srgbClr val="61616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468026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212" userDrawn="1">
          <p15:clr>
            <a:srgbClr val="FBAE40"/>
          </p15:clr>
        </p15:guide>
        <p15:guide id="2" pos="2926" userDrawn="1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Solo texto y bullet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2462" y="452447"/>
            <a:ext cx="523943" cy="523875"/>
          </a:xfrm>
          <a:prstGeom prst="rect">
            <a:avLst/>
          </a:prstGeom>
        </p:spPr>
      </p:pic>
      <p:sp>
        <p:nvSpPr>
          <p:cNvPr id="3" name="Marcador de texto 2">
            <a:extLst>
              <a:ext uri="{FF2B5EF4-FFF2-40B4-BE49-F238E27FC236}">
                <a16:creationId xmlns:a16="http://schemas.microsoft.com/office/drawing/2014/main" xmlns="" id="{79371C62-644E-E74F-8E59-C3049417716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62049" y="2204864"/>
            <a:ext cx="5474279" cy="4145136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defRPr sz="1697">
                <a:solidFill>
                  <a:schemeClr val="bg1"/>
                </a:solidFill>
              </a:defRPr>
            </a:lvl1pPr>
            <a:lvl2pPr marL="675507" indent="-371055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Wingdings" pitchFamily="2" charset="2"/>
              <a:buChar char="§"/>
              <a:tabLst/>
              <a:defRPr lang="es-ES" sz="1600" b="0" i="0" u="none" strike="noStrike" cap="none" spc="0" baseline="0" dirty="0" smtClean="0">
                <a:solidFill>
                  <a:schemeClr val="bg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29120" indent="-332997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chemeClr val="bg1"/>
                </a:solidFill>
              </a:defRPr>
            </a:lvl3pPr>
            <a:lvl4pPr marL="1340709" indent="-332204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chemeClr val="bg1"/>
                </a:solidFill>
              </a:defRPr>
            </a:lvl4pPr>
            <a:lvl5pPr marL="1673706" indent="-363919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>
                <a:tab pos="1569843" algn="l"/>
              </a:tabLst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Párrafo texto Arial 17</a:t>
            </a:r>
          </a:p>
          <a:p>
            <a:pPr lvl="1"/>
            <a:r>
              <a:rPr lang="es-ES" dirty="0"/>
              <a:t>Segundo nivel Arial 16</a:t>
            </a:r>
          </a:p>
          <a:p>
            <a:pPr lvl="2"/>
            <a:r>
              <a:rPr lang="es-ES" dirty="0"/>
              <a:t>Tercer nivel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10" name="Marcador de texto 2">
            <a:extLst>
              <a:ext uri="{FF2B5EF4-FFF2-40B4-BE49-F238E27FC236}">
                <a16:creationId xmlns:a16="http://schemas.microsoft.com/office/drawing/2014/main" xmlns="" id="{46352864-5CDA-6748-9BE7-AB525715B10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7265" y="2204864"/>
            <a:ext cx="5474279" cy="4145136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defRPr sz="1697">
                <a:solidFill>
                  <a:schemeClr val="bg1"/>
                </a:solidFill>
              </a:defRPr>
            </a:lvl1pPr>
            <a:lvl2pPr marL="675507" indent="-371055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Wingdings" pitchFamily="2" charset="2"/>
              <a:buChar char="§"/>
              <a:tabLst/>
              <a:defRPr lang="es-ES" sz="1600" b="0" i="0" u="none" strike="noStrike" cap="none" spc="0" baseline="0" dirty="0" smtClean="0">
                <a:solidFill>
                  <a:schemeClr val="bg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29120" indent="-332997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chemeClr val="bg1"/>
                </a:solidFill>
              </a:defRPr>
            </a:lvl3pPr>
            <a:lvl4pPr marL="1340709" indent="-332204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chemeClr val="bg1"/>
                </a:solidFill>
              </a:defRPr>
            </a:lvl4pPr>
            <a:lvl5pPr marL="1673706" indent="-363919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>
                <a:tab pos="1569843" algn="l"/>
              </a:tabLst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Párrafo texto Arial 17</a:t>
            </a:r>
          </a:p>
          <a:p>
            <a:pPr lvl="1"/>
            <a:r>
              <a:rPr lang="es-ES" dirty="0"/>
              <a:t>Segundo nivel Arial 16</a:t>
            </a:r>
          </a:p>
          <a:p>
            <a:pPr lvl="2"/>
            <a:r>
              <a:rPr lang="es-ES" dirty="0"/>
              <a:t>Tercer nivel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11" name="Marcador de texto 7">
            <a:extLst>
              <a:ext uri="{FF2B5EF4-FFF2-40B4-BE49-F238E27FC236}">
                <a16:creationId xmlns:a16="http://schemas.microsoft.com/office/drawing/2014/main" xmlns="" id="{77E70C03-1C9A-9648-B425-8A31D2E87E4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59714" y="1608138"/>
            <a:ext cx="5460593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accent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xmlns="" id="{21A27CE4-2D15-A94A-A97D-35B2F8DDC91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62049" y="1608138"/>
            <a:ext cx="5460593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accent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421C23CA-A9EE-274A-A27A-3F1E699A6425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 flipH="1">
            <a:off x="427719" y="6587193"/>
            <a:ext cx="5492592" cy="174851"/>
          </a:xfrm>
          <a:noFill/>
          <a:effectLst/>
        </p:spPr>
        <p:txBody>
          <a:bodyPr wrap="square" lIns="0" tIns="0" rIns="0" bIns="36000">
            <a:spAutoFit/>
          </a:bodyPr>
          <a:lstStyle>
            <a:lvl1pPr marL="136370" indent="0">
              <a:tabLst/>
              <a:defRPr>
                <a:solidFill>
                  <a:schemeClr val="accent2"/>
                </a:solidFill>
              </a:defRPr>
            </a:lvl1pPr>
          </a:lstStyle>
          <a:p>
            <a:r>
              <a:rPr lang="es-ES_tradnl" dirty="0">
                <a:solidFill>
                  <a:srgbClr val="F2E500"/>
                </a:solidFill>
              </a:rPr>
              <a:t>Fuente o Pie de página Arial 9</a:t>
            </a:r>
          </a:p>
        </p:txBody>
      </p:sp>
      <p:sp>
        <p:nvSpPr>
          <p:cNvPr id="13" name="Marcador de texto 7">
            <a:extLst>
              <a:ext uri="{FF2B5EF4-FFF2-40B4-BE49-F238E27FC236}">
                <a16:creationId xmlns:a16="http://schemas.microsoft.com/office/drawing/2014/main" xmlns="" id="{DD32D3F5-60C4-4548-B9FD-5B2B534B5D5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322" y="450851"/>
            <a:ext cx="833855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1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7" name="Conector recto 16">
            <a:extLst>
              <a:ext uri="{FF2B5EF4-FFF2-40B4-BE49-F238E27FC236}">
                <a16:creationId xmlns:a16="http://schemas.microsoft.com/office/drawing/2014/main" xmlns="" id="{FC4CE323-2991-0741-84BF-4FC66AF6EEA5}"/>
              </a:ext>
            </a:extLst>
          </p:cNvPr>
          <p:cNvCxnSpPr>
            <a:cxnSpLocks/>
          </p:cNvCxnSpPr>
          <p:nvPr userDrawn="1"/>
        </p:nvCxnSpPr>
        <p:spPr>
          <a:xfrm>
            <a:off x="539966" y="385812"/>
            <a:ext cx="1297390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8" name="Marcador de texto 7">
            <a:extLst>
              <a:ext uri="{FF2B5EF4-FFF2-40B4-BE49-F238E27FC236}">
                <a16:creationId xmlns:a16="http://schemas.microsoft.com/office/drawing/2014/main" xmlns="" id="{A8F90AAC-3411-5E49-A60E-F9BE61D397F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878297"/>
            <a:ext cx="833855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accent2"/>
                </a:solidFill>
              </a:defRPr>
            </a:lvl1pPr>
            <a:lvl2pPr marL="304455" indent="0">
              <a:buNone/>
              <a:defRPr/>
            </a:lvl2pPr>
            <a:lvl3pPr marL="608908" indent="0">
              <a:buNone/>
              <a:defRPr/>
            </a:lvl3pPr>
            <a:lvl4pPr marL="913363" indent="0">
              <a:buNone/>
              <a:defRPr/>
            </a:lvl4pPr>
            <a:lvl5pPr marL="1217816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  <p:sp>
        <p:nvSpPr>
          <p:cNvPr id="14" name="Marcador de número de diapositiva 1">
            <a:extLst>
              <a:ext uri="{FF2B5EF4-FFF2-40B4-BE49-F238E27FC236}">
                <a16:creationId xmlns:a16="http://schemas.microsoft.com/office/drawing/2014/main" xmlns="" id="{1F8842AD-E05A-0F45-8A8A-37431DBD738A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9972278" y="6463760"/>
            <a:ext cx="1844404" cy="365125"/>
          </a:xfrm>
        </p:spPr>
        <p:txBody>
          <a:bodyPr anchor="t"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FFFFFF"/>
                </a:solidFill>
              </a:rPr>
              <a:pPr/>
              <a:t>‹Nº›</a:t>
            </a:fld>
            <a:endParaRPr lang="es-CL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295993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212" userDrawn="1">
          <p15:clr>
            <a:srgbClr val="FBAE40"/>
          </p15:clr>
        </p15:guide>
        <p15:guide id="2" pos="2926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7.xml"/><Relationship Id="rId117" Type="http://schemas.openxmlformats.org/officeDocument/2006/relationships/slideLayout" Target="../slideLayouts/slideLayout118.xml"/><Relationship Id="rId21" Type="http://schemas.openxmlformats.org/officeDocument/2006/relationships/slideLayout" Target="../slideLayouts/slideLayout22.xml"/><Relationship Id="rId42" Type="http://schemas.openxmlformats.org/officeDocument/2006/relationships/slideLayout" Target="../slideLayouts/slideLayout43.xml"/><Relationship Id="rId47" Type="http://schemas.openxmlformats.org/officeDocument/2006/relationships/slideLayout" Target="../slideLayouts/slideLayout48.xml"/><Relationship Id="rId63" Type="http://schemas.openxmlformats.org/officeDocument/2006/relationships/slideLayout" Target="../slideLayouts/slideLayout64.xml"/><Relationship Id="rId68" Type="http://schemas.openxmlformats.org/officeDocument/2006/relationships/slideLayout" Target="../slideLayouts/slideLayout69.xml"/><Relationship Id="rId84" Type="http://schemas.openxmlformats.org/officeDocument/2006/relationships/slideLayout" Target="../slideLayouts/slideLayout85.xml"/><Relationship Id="rId89" Type="http://schemas.openxmlformats.org/officeDocument/2006/relationships/slideLayout" Target="../slideLayouts/slideLayout90.xml"/><Relationship Id="rId112" Type="http://schemas.openxmlformats.org/officeDocument/2006/relationships/slideLayout" Target="../slideLayouts/slideLayout113.xml"/><Relationship Id="rId133" Type="http://schemas.openxmlformats.org/officeDocument/2006/relationships/slideLayout" Target="../slideLayouts/slideLayout134.xml"/><Relationship Id="rId138" Type="http://schemas.openxmlformats.org/officeDocument/2006/relationships/image" Target="../media/image1.emf"/><Relationship Id="rId16" Type="http://schemas.openxmlformats.org/officeDocument/2006/relationships/slideLayout" Target="../slideLayouts/slideLayout17.xml"/><Relationship Id="rId107" Type="http://schemas.openxmlformats.org/officeDocument/2006/relationships/slideLayout" Target="../slideLayouts/slideLayout108.xml"/><Relationship Id="rId11" Type="http://schemas.openxmlformats.org/officeDocument/2006/relationships/slideLayout" Target="../slideLayouts/slideLayout12.xml"/><Relationship Id="rId32" Type="http://schemas.openxmlformats.org/officeDocument/2006/relationships/slideLayout" Target="../slideLayouts/slideLayout33.xml"/><Relationship Id="rId37" Type="http://schemas.openxmlformats.org/officeDocument/2006/relationships/slideLayout" Target="../slideLayouts/slideLayout38.xml"/><Relationship Id="rId53" Type="http://schemas.openxmlformats.org/officeDocument/2006/relationships/slideLayout" Target="../slideLayouts/slideLayout54.xml"/><Relationship Id="rId58" Type="http://schemas.openxmlformats.org/officeDocument/2006/relationships/slideLayout" Target="../slideLayouts/slideLayout59.xml"/><Relationship Id="rId74" Type="http://schemas.openxmlformats.org/officeDocument/2006/relationships/slideLayout" Target="../slideLayouts/slideLayout75.xml"/><Relationship Id="rId79" Type="http://schemas.openxmlformats.org/officeDocument/2006/relationships/slideLayout" Target="../slideLayouts/slideLayout80.xml"/><Relationship Id="rId102" Type="http://schemas.openxmlformats.org/officeDocument/2006/relationships/slideLayout" Target="../slideLayouts/slideLayout103.xml"/><Relationship Id="rId123" Type="http://schemas.openxmlformats.org/officeDocument/2006/relationships/slideLayout" Target="../slideLayouts/slideLayout124.xml"/><Relationship Id="rId128" Type="http://schemas.openxmlformats.org/officeDocument/2006/relationships/slideLayout" Target="../slideLayouts/slideLayout129.xml"/><Relationship Id="rId5" Type="http://schemas.openxmlformats.org/officeDocument/2006/relationships/slideLayout" Target="../slideLayouts/slideLayout6.xml"/><Relationship Id="rId90" Type="http://schemas.openxmlformats.org/officeDocument/2006/relationships/slideLayout" Target="../slideLayouts/slideLayout91.xml"/><Relationship Id="rId95" Type="http://schemas.openxmlformats.org/officeDocument/2006/relationships/slideLayout" Target="../slideLayouts/slideLayout96.xml"/><Relationship Id="rId14" Type="http://schemas.openxmlformats.org/officeDocument/2006/relationships/slideLayout" Target="../slideLayouts/slideLayout15.xml"/><Relationship Id="rId22" Type="http://schemas.openxmlformats.org/officeDocument/2006/relationships/slideLayout" Target="../slideLayouts/slideLayout23.xml"/><Relationship Id="rId27" Type="http://schemas.openxmlformats.org/officeDocument/2006/relationships/slideLayout" Target="../slideLayouts/slideLayout28.xml"/><Relationship Id="rId30" Type="http://schemas.openxmlformats.org/officeDocument/2006/relationships/slideLayout" Target="../slideLayouts/slideLayout31.xml"/><Relationship Id="rId35" Type="http://schemas.openxmlformats.org/officeDocument/2006/relationships/slideLayout" Target="../slideLayouts/slideLayout36.xml"/><Relationship Id="rId43" Type="http://schemas.openxmlformats.org/officeDocument/2006/relationships/slideLayout" Target="../slideLayouts/slideLayout44.xml"/><Relationship Id="rId48" Type="http://schemas.openxmlformats.org/officeDocument/2006/relationships/slideLayout" Target="../slideLayouts/slideLayout49.xml"/><Relationship Id="rId56" Type="http://schemas.openxmlformats.org/officeDocument/2006/relationships/slideLayout" Target="../slideLayouts/slideLayout57.xml"/><Relationship Id="rId64" Type="http://schemas.openxmlformats.org/officeDocument/2006/relationships/slideLayout" Target="../slideLayouts/slideLayout65.xml"/><Relationship Id="rId69" Type="http://schemas.openxmlformats.org/officeDocument/2006/relationships/slideLayout" Target="../slideLayouts/slideLayout70.xml"/><Relationship Id="rId77" Type="http://schemas.openxmlformats.org/officeDocument/2006/relationships/slideLayout" Target="../slideLayouts/slideLayout78.xml"/><Relationship Id="rId100" Type="http://schemas.openxmlformats.org/officeDocument/2006/relationships/slideLayout" Target="../slideLayouts/slideLayout101.xml"/><Relationship Id="rId105" Type="http://schemas.openxmlformats.org/officeDocument/2006/relationships/slideLayout" Target="../slideLayouts/slideLayout106.xml"/><Relationship Id="rId113" Type="http://schemas.openxmlformats.org/officeDocument/2006/relationships/slideLayout" Target="../slideLayouts/slideLayout114.xml"/><Relationship Id="rId118" Type="http://schemas.openxmlformats.org/officeDocument/2006/relationships/slideLayout" Target="../slideLayouts/slideLayout119.xml"/><Relationship Id="rId126" Type="http://schemas.openxmlformats.org/officeDocument/2006/relationships/slideLayout" Target="../slideLayouts/slideLayout127.xml"/><Relationship Id="rId134" Type="http://schemas.openxmlformats.org/officeDocument/2006/relationships/theme" Target="../theme/theme2.xml"/><Relationship Id="rId8" Type="http://schemas.openxmlformats.org/officeDocument/2006/relationships/slideLayout" Target="../slideLayouts/slideLayout9.xml"/><Relationship Id="rId51" Type="http://schemas.openxmlformats.org/officeDocument/2006/relationships/slideLayout" Target="../slideLayouts/slideLayout52.xml"/><Relationship Id="rId72" Type="http://schemas.openxmlformats.org/officeDocument/2006/relationships/slideLayout" Target="../slideLayouts/slideLayout73.xml"/><Relationship Id="rId80" Type="http://schemas.openxmlformats.org/officeDocument/2006/relationships/slideLayout" Target="../slideLayouts/slideLayout81.xml"/><Relationship Id="rId85" Type="http://schemas.openxmlformats.org/officeDocument/2006/relationships/slideLayout" Target="../slideLayouts/slideLayout86.xml"/><Relationship Id="rId93" Type="http://schemas.openxmlformats.org/officeDocument/2006/relationships/slideLayout" Target="../slideLayouts/slideLayout94.xml"/><Relationship Id="rId98" Type="http://schemas.openxmlformats.org/officeDocument/2006/relationships/slideLayout" Target="../slideLayouts/slideLayout99.xml"/><Relationship Id="rId121" Type="http://schemas.openxmlformats.org/officeDocument/2006/relationships/slideLayout" Target="../slideLayouts/slideLayout122.xml"/><Relationship Id="rId3" Type="http://schemas.openxmlformats.org/officeDocument/2006/relationships/slideLayout" Target="../slideLayouts/slideLayout4.xml"/><Relationship Id="rId12" Type="http://schemas.openxmlformats.org/officeDocument/2006/relationships/slideLayout" Target="../slideLayouts/slideLayout13.xml"/><Relationship Id="rId17" Type="http://schemas.openxmlformats.org/officeDocument/2006/relationships/slideLayout" Target="../slideLayouts/slideLayout18.xml"/><Relationship Id="rId25" Type="http://schemas.openxmlformats.org/officeDocument/2006/relationships/slideLayout" Target="../slideLayouts/slideLayout26.xml"/><Relationship Id="rId33" Type="http://schemas.openxmlformats.org/officeDocument/2006/relationships/slideLayout" Target="../slideLayouts/slideLayout34.xml"/><Relationship Id="rId38" Type="http://schemas.openxmlformats.org/officeDocument/2006/relationships/slideLayout" Target="../slideLayouts/slideLayout39.xml"/><Relationship Id="rId46" Type="http://schemas.openxmlformats.org/officeDocument/2006/relationships/slideLayout" Target="../slideLayouts/slideLayout47.xml"/><Relationship Id="rId59" Type="http://schemas.openxmlformats.org/officeDocument/2006/relationships/slideLayout" Target="../slideLayouts/slideLayout60.xml"/><Relationship Id="rId67" Type="http://schemas.openxmlformats.org/officeDocument/2006/relationships/slideLayout" Target="../slideLayouts/slideLayout68.xml"/><Relationship Id="rId103" Type="http://schemas.openxmlformats.org/officeDocument/2006/relationships/slideLayout" Target="../slideLayouts/slideLayout104.xml"/><Relationship Id="rId108" Type="http://schemas.openxmlformats.org/officeDocument/2006/relationships/slideLayout" Target="../slideLayouts/slideLayout109.xml"/><Relationship Id="rId116" Type="http://schemas.openxmlformats.org/officeDocument/2006/relationships/slideLayout" Target="../slideLayouts/slideLayout117.xml"/><Relationship Id="rId124" Type="http://schemas.openxmlformats.org/officeDocument/2006/relationships/slideLayout" Target="../slideLayouts/slideLayout125.xml"/><Relationship Id="rId129" Type="http://schemas.openxmlformats.org/officeDocument/2006/relationships/slideLayout" Target="../slideLayouts/slideLayout130.xml"/><Relationship Id="rId137" Type="http://schemas.openxmlformats.org/officeDocument/2006/relationships/oleObject" Target="../embeddings/oleObject2.bin"/><Relationship Id="rId20" Type="http://schemas.openxmlformats.org/officeDocument/2006/relationships/slideLayout" Target="../slideLayouts/slideLayout21.xml"/><Relationship Id="rId41" Type="http://schemas.openxmlformats.org/officeDocument/2006/relationships/slideLayout" Target="../slideLayouts/slideLayout42.xml"/><Relationship Id="rId54" Type="http://schemas.openxmlformats.org/officeDocument/2006/relationships/slideLayout" Target="../slideLayouts/slideLayout55.xml"/><Relationship Id="rId62" Type="http://schemas.openxmlformats.org/officeDocument/2006/relationships/slideLayout" Target="../slideLayouts/slideLayout63.xml"/><Relationship Id="rId70" Type="http://schemas.openxmlformats.org/officeDocument/2006/relationships/slideLayout" Target="../slideLayouts/slideLayout71.xml"/><Relationship Id="rId75" Type="http://schemas.openxmlformats.org/officeDocument/2006/relationships/slideLayout" Target="../slideLayouts/slideLayout76.xml"/><Relationship Id="rId83" Type="http://schemas.openxmlformats.org/officeDocument/2006/relationships/slideLayout" Target="../slideLayouts/slideLayout84.xml"/><Relationship Id="rId88" Type="http://schemas.openxmlformats.org/officeDocument/2006/relationships/slideLayout" Target="../slideLayouts/slideLayout89.xml"/><Relationship Id="rId91" Type="http://schemas.openxmlformats.org/officeDocument/2006/relationships/slideLayout" Target="../slideLayouts/slideLayout92.xml"/><Relationship Id="rId96" Type="http://schemas.openxmlformats.org/officeDocument/2006/relationships/slideLayout" Target="../slideLayouts/slideLayout97.xml"/><Relationship Id="rId111" Type="http://schemas.openxmlformats.org/officeDocument/2006/relationships/slideLayout" Target="../slideLayouts/slideLayout112.xml"/><Relationship Id="rId132" Type="http://schemas.openxmlformats.org/officeDocument/2006/relationships/slideLayout" Target="../slideLayouts/slideLayout13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5" Type="http://schemas.openxmlformats.org/officeDocument/2006/relationships/slideLayout" Target="../slideLayouts/slideLayout16.xml"/><Relationship Id="rId23" Type="http://schemas.openxmlformats.org/officeDocument/2006/relationships/slideLayout" Target="../slideLayouts/slideLayout24.xml"/><Relationship Id="rId28" Type="http://schemas.openxmlformats.org/officeDocument/2006/relationships/slideLayout" Target="../slideLayouts/slideLayout29.xml"/><Relationship Id="rId36" Type="http://schemas.openxmlformats.org/officeDocument/2006/relationships/slideLayout" Target="../slideLayouts/slideLayout37.xml"/><Relationship Id="rId49" Type="http://schemas.openxmlformats.org/officeDocument/2006/relationships/slideLayout" Target="../slideLayouts/slideLayout50.xml"/><Relationship Id="rId57" Type="http://schemas.openxmlformats.org/officeDocument/2006/relationships/slideLayout" Target="../slideLayouts/slideLayout58.xml"/><Relationship Id="rId106" Type="http://schemas.openxmlformats.org/officeDocument/2006/relationships/slideLayout" Target="../slideLayouts/slideLayout107.xml"/><Relationship Id="rId114" Type="http://schemas.openxmlformats.org/officeDocument/2006/relationships/slideLayout" Target="../slideLayouts/slideLayout115.xml"/><Relationship Id="rId119" Type="http://schemas.openxmlformats.org/officeDocument/2006/relationships/slideLayout" Target="../slideLayouts/slideLayout120.xml"/><Relationship Id="rId127" Type="http://schemas.openxmlformats.org/officeDocument/2006/relationships/slideLayout" Target="../slideLayouts/slideLayout128.xml"/><Relationship Id="rId10" Type="http://schemas.openxmlformats.org/officeDocument/2006/relationships/slideLayout" Target="../slideLayouts/slideLayout11.xml"/><Relationship Id="rId31" Type="http://schemas.openxmlformats.org/officeDocument/2006/relationships/slideLayout" Target="../slideLayouts/slideLayout32.xml"/><Relationship Id="rId44" Type="http://schemas.openxmlformats.org/officeDocument/2006/relationships/slideLayout" Target="../slideLayouts/slideLayout45.xml"/><Relationship Id="rId52" Type="http://schemas.openxmlformats.org/officeDocument/2006/relationships/slideLayout" Target="../slideLayouts/slideLayout53.xml"/><Relationship Id="rId60" Type="http://schemas.openxmlformats.org/officeDocument/2006/relationships/slideLayout" Target="../slideLayouts/slideLayout61.xml"/><Relationship Id="rId65" Type="http://schemas.openxmlformats.org/officeDocument/2006/relationships/slideLayout" Target="../slideLayouts/slideLayout66.xml"/><Relationship Id="rId73" Type="http://schemas.openxmlformats.org/officeDocument/2006/relationships/slideLayout" Target="../slideLayouts/slideLayout74.xml"/><Relationship Id="rId78" Type="http://schemas.openxmlformats.org/officeDocument/2006/relationships/slideLayout" Target="../slideLayouts/slideLayout79.xml"/><Relationship Id="rId81" Type="http://schemas.openxmlformats.org/officeDocument/2006/relationships/slideLayout" Target="../slideLayouts/slideLayout82.xml"/><Relationship Id="rId86" Type="http://schemas.openxmlformats.org/officeDocument/2006/relationships/slideLayout" Target="../slideLayouts/slideLayout87.xml"/><Relationship Id="rId94" Type="http://schemas.openxmlformats.org/officeDocument/2006/relationships/slideLayout" Target="../slideLayouts/slideLayout95.xml"/><Relationship Id="rId99" Type="http://schemas.openxmlformats.org/officeDocument/2006/relationships/slideLayout" Target="../slideLayouts/slideLayout100.xml"/><Relationship Id="rId101" Type="http://schemas.openxmlformats.org/officeDocument/2006/relationships/slideLayout" Target="../slideLayouts/slideLayout102.xml"/><Relationship Id="rId122" Type="http://schemas.openxmlformats.org/officeDocument/2006/relationships/slideLayout" Target="../slideLayouts/slideLayout123.xml"/><Relationship Id="rId130" Type="http://schemas.openxmlformats.org/officeDocument/2006/relationships/slideLayout" Target="../slideLayouts/slideLayout131.xml"/><Relationship Id="rId135" Type="http://schemas.openxmlformats.org/officeDocument/2006/relationships/vmlDrawing" Target="../drawings/vmlDrawing2.vml"/><Relationship Id="rId4" Type="http://schemas.openxmlformats.org/officeDocument/2006/relationships/slideLayout" Target="../slideLayouts/slideLayout5.xml"/><Relationship Id="rId9" Type="http://schemas.openxmlformats.org/officeDocument/2006/relationships/slideLayout" Target="../slideLayouts/slideLayout10.xml"/><Relationship Id="rId13" Type="http://schemas.openxmlformats.org/officeDocument/2006/relationships/slideLayout" Target="../slideLayouts/slideLayout14.xml"/><Relationship Id="rId18" Type="http://schemas.openxmlformats.org/officeDocument/2006/relationships/slideLayout" Target="../slideLayouts/slideLayout19.xml"/><Relationship Id="rId39" Type="http://schemas.openxmlformats.org/officeDocument/2006/relationships/slideLayout" Target="../slideLayouts/slideLayout40.xml"/><Relationship Id="rId109" Type="http://schemas.openxmlformats.org/officeDocument/2006/relationships/slideLayout" Target="../slideLayouts/slideLayout110.xml"/><Relationship Id="rId34" Type="http://schemas.openxmlformats.org/officeDocument/2006/relationships/slideLayout" Target="../slideLayouts/slideLayout35.xml"/><Relationship Id="rId50" Type="http://schemas.openxmlformats.org/officeDocument/2006/relationships/slideLayout" Target="../slideLayouts/slideLayout51.xml"/><Relationship Id="rId55" Type="http://schemas.openxmlformats.org/officeDocument/2006/relationships/slideLayout" Target="../slideLayouts/slideLayout56.xml"/><Relationship Id="rId76" Type="http://schemas.openxmlformats.org/officeDocument/2006/relationships/slideLayout" Target="../slideLayouts/slideLayout77.xml"/><Relationship Id="rId97" Type="http://schemas.openxmlformats.org/officeDocument/2006/relationships/slideLayout" Target="../slideLayouts/slideLayout98.xml"/><Relationship Id="rId104" Type="http://schemas.openxmlformats.org/officeDocument/2006/relationships/slideLayout" Target="../slideLayouts/slideLayout105.xml"/><Relationship Id="rId120" Type="http://schemas.openxmlformats.org/officeDocument/2006/relationships/slideLayout" Target="../slideLayouts/slideLayout121.xml"/><Relationship Id="rId125" Type="http://schemas.openxmlformats.org/officeDocument/2006/relationships/slideLayout" Target="../slideLayouts/slideLayout126.xml"/><Relationship Id="rId7" Type="http://schemas.openxmlformats.org/officeDocument/2006/relationships/slideLayout" Target="../slideLayouts/slideLayout8.xml"/><Relationship Id="rId71" Type="http://schemas.openxmlformats.org/officeDocument/2006/relationships/slideLayout" Target="../slideLayouts/slideLayout72.xml"/><Relationship Id="rId92" Type="http://schemas.openxmlformats.org/officeDocument/2006/relationships/slideLayout" Target="../slideLayouts/slideLayout93.xml"/><Relationship Id="rId2" Type="http://schemas.openxmlformats.org/officeDocument/2006/relationships/slideLayout" Target="../slideLayouts/slideLayout3.xml"/><Relationship Id="rId29" Type="http://schemas.openxmlformats.org/officeDocument/2006/relationships/slideLayout" Target="../slideLayouts/slideLayout30.xml"/><Relationship Id="rId24" Type="http://schemas.openxmlformats.org/officeDocument/2006/relationships/slideLayout" Target="../slideLayouts/slideLayout25.xml"/><Relationship Id="rId40" Type="http://schemas.openxmlformats.org/officeDocument/2006/relationships/slideLayout" Target="../slideLayouts/slideLayout41.xml"/><Relationship Id="rId45" Type="http://schemas.openxmlformats.org/officeDocument/2006/relationships/slideLayout" Target="../slideLayouts/slideLayout46.xml"/><Relationship Id="rId66" Type="http://schemas.openxmlformats.org/officeDocument/2006/relationships/slideLayout" Target="../slideLayouts/slideLayout67.xml"/><Relationship Id="rId87" Type="http://schemas.openxmlformats.org/officeDocument/2006/relationships/slideLayout" Target="../slideLayouts/slideLayout88.xml"/><Relationship Id="rId110" Type="http://schemas.openxmlformats.org/officeDocument/2006/relationships/slideLayout" Target="../slideLayouts/slideLayout111.xml"/><Relationship Id="rId115" Type="http://schemas.openxmlformats.org/officeDocument/2006/relationships/slideLayout" Target="../slideLayouts/slideLayout116.xml"/><Relationship Id="rId131" Type="http://schemas.openxmlformats.org/officeDocument/2006/relationships/slideLayout" Target="../slideLayouts/slideLayout132.xml"/><Relationship Id="rId136" Type="http://schemas.openxmlformats.org/officeDocument/2006/relationships/tags" Target="../tags/tag3.xml"/><Relationship Id="rId61" Type="http://schemas.openxmlformats.org/officeDocument/2006/relationships/slideLayout" Target="../slideLayouts/slideLayout62.xml"/><Relationship Id="rId82" Type="http://schemas.openxmlformats.org/officeDocument/2006/relationships/slideLayout" Target="../slideLayouts/slideLayout83.xml"/><Relationship Id="rId1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2.xml"/><Relationship Id="rId13" Type="http://schemas.openxmlformats.org/officeDocument/2006/relationships/slideLayout" Target="../slideLayouts/slideLayout147.xml"/><Relationship Id="rId18" Type="http://schemas.openxmlformats.org/officeDocument/2006/relationships/oleObject" Target="../embeddings/oleObject39.bin"/><Relationship Id="rId3" Type="http://schemas.openxmlformats.org/officeDocument/2006/relationships/slideLayout" Target="../slideLayouts/slideLayout137.xml"/><Relationship Id="rId7" Type="http://schemas.openxmlformats.org/officeDocument/2006/relationships/slideLayout" Target="../slideLayouts/slideLayout141.xml"/><Relationship Id="rId12" Type="http://schemas.openxmlformats.org/officeDocument/2006/relationships/slideLayout" Target="../slideLayouts/slideLayout146.xml"/><Relationship Id="rId17" Type="http://schemas.openxmlformats.org/officeDocument/2006/relationships/tags" Target="../tags/tag48.xml"/><Relationship Id="rId2" Type="http://schemas.openxmlformats.org/officeDocument/2006/relationships/slideLayout" Target="../slideLayouts/slideLayout136.xml"/><Relationship Id="rId16" Type="http://schemas.openxmlformats.org/officeDocument/2006/relationships/vmlDrawing" Target="../drawings/vmlDrawing39.vml"/><Relationship Id="rId1" Type="http://schemas.openxmlformats.org/officeDocument/2006/relationships/slideLayout" Target="../slideLayouts/slideLayout135.xml"/><Relationship Id="rId6" Type="http://schemas.openxmlformats.org/officeDocument/2006/relationships/slideLayout" Target="../slideLayouts/slideLayout140.xml"/><Relationship Id="rId11" Type="http://schemas.openxmlformats.org/officeDocument/2006/relationships/slideLayout" Target="../slideLayouts/slideLayout145.xml"/><Relationship Id="rId5" Type="http://schemas.openxmlformats.org/officeDocument/2006/relationships/slideLayout" Target="../slideLayouts/slideLayout139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144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138.xml"/><Relationship Id="rId9" Type="http://schemas.openxmlformats.org/officeDocument/2006/relationships/slideLayout" Target="../slideLayouts/slideLayout143.xml"/><Relationship Id="rId14" Type="http://schemas.openxmlformats.org/officeDocument/2006/relationships/slideLayout" Target="../slideLayouts/slideLayout148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6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151.xml"/><Relationship Id="rId7" Type="http://schemas.openxmlformats.org/officeDocument/2006/relationships/slideLayout" Target="../slideLayouts/slideLayout155.xml"/><Relationship Id="rId12" Type="http://schemas.openxmlformats.org/officeDocument/2006/relationships/slideLayout" Target="../slideLayouts/slideLayout160.xml"/><Relationship Id="rId17" Type="http://schemas.openxmlformats.org/officeDocument/2006/relationships/image" Target="../media/image36.emf"/><Relationship Id="rId2" Type="http://schemas.openxmlformats.org/officeDocument/2006/relationships/slideLayout" Target="../slideLayouts/slideLayout150.xml"/><Relationship Id="rId16" Type="http://schemas.openxmlformats.org/officeDocument/2006/relationships/oleObject" Target="../embeddings/oleObject40.bin"/><Relationship Id="rId1" Type="http://schemas.openxmlformats.org/officeDocument/2006/relationships/slideLayout" Target="../slideLayouts/slideLayout149.xml"/><Relationship Id="rId6" Type="http://schemas.openxmlformats.org/officeDocument/2006/relationships/slideLayout" Target="../slideLayouts/slideLayout154.xml"/><Relationship Id="rId11" Type="http://schemas.openxmlformats.org/officeDocument/2006/relationships/slideLayout" Target="../slideLayouts/slideLayout159.xml"/><Relationship Id="rId5" Type="http://schemas.openxmlformats.org/officeDocument/2006/relationships/slideLayout" Target="../slideLayouts/slideLayout153.xml"/><Relationship Id="rId15" Type="http://schemas.openxmlformats.org/officeDocument/2006/relationships/tags" Target="../tags/tag49.xml"/><Relationship Id="rId10" Type="http://schemas.openxmlformats.org/officeDocument/2006/relationships/slideLayout" Target="../slideLayouts/slideLayout158.xml"/><Relationship Id="rId4" Type="http://schemas.openxmlformats.org/officeDocument/2006/relationships/slideLayout" Target="../slideLayouts/slideLayout152.xml"/><Relationship Id="rId9" Type="http://schemas.openxmlformats.org/officeDocument/2006/relationships/slideLayout" Target="../slideLayouts/slideLayout157.xml"/><Relationship Id="rId14" Type="http://schemas.openxmlformats.org/officeDocument/2006/relationships/vmlDrawing" Target="../drawings/vmlDrawing40.v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8.xml"/><Relationship Id="rId13" Type="http://schemas.openxmlformats.org/officeDocument/2006/relationships/theme" Target="../theme/theme5.xml"/><Relationship Id="rId3" Type="http://schemas.openxmlformats.org/officeDocument/2006/relationships/slideLayout" Target="../slideLayouts/slideLayout163.xml"/><Relationship Id="rId7" Type="http://schemas.openxmlformats.org/officeDocument/2006/relationships/slideLayout" Target="../slideLayouts/slideLayout167.xml"/><Relationship Id="rId12" Type="http://schemas.openxmlformats.org/officeDocument/2006/relationships/slideLayout" Target="../slideLayouts/slideLayout172.xml"/><Relationship Id="rId17" Type="http://schemas.openxmlformats.org/officeDocument/2006/relationships/image" Target="../media/image36.emf"/><Relationship Id="rId2" Type="http://schemas.openxmlformats.org/officeDocument/2006/relationships/slideLayout" Target="../slideLayouts/slideLayout162.xml"/><Relationship Id="rId16" Type="http://schemas.openxmlformats.org/officeDocument/2006/relationships/oleObject" Target="../embeddings/oleObject51.bin"/><Relationship Id="rId1" Type="http://schemas.openxmlformats.org/officeDocument/2006/relationships/slideLayout" Target="../slideLayouts/slideLayout161.xml"/><Relationship Id="rId6" Type="http://schemas.openxmlformats.org/officeDocument/2006/relationships/slideLayout" Target="../slideLayouts/slideLayout166.xml"/><Relationship Id="rId11" Type="http://schemas.openxmlformats.org/officeDocument/2006/relationships/slideLayout" Target="../slideLayouts/slideLayout171.xml"/><Relationship Id="rId5" Type="http://schemas.openxmlformats.org/officeDocument/2006/relationships/slideLayout" Target="../slideLayouts/slideLayout165.xml"/><Relationship Id="rId15" Type="http://schemas.openxmlformats.org/officeDocument/2006/relationships/tags" Target="../tags/tag60.xml"/><Relationship Id="rId10" Type="http://schemas.openxmlformats.org/officeDocument/2006/relationships/slideLayout" Target="../slideLayouts/slideLayout170.xml"/><Relationship Id="rId4" Type="http://schemas.openxmlformats.org/officeDocument/2006/relationships/slideLayout" Target="../slideLayouts/slideLayout164.xml"/><Relationship Id="rId9" Type="http://schemas.openxmlformats.org/officeDocument/2006/relationships/slideLayout" Target="../slideLayouts/slideLayout169.xml"/><Relationship Id="rId14" Type="http://schemas.openxmlformats.org/officeDocument/2006/relationships/vmlDrawing" Target="../drawings/vmlDrawing51.v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0.xml"/><Relationship Id="rId3" Type="http://schemas.openxmlformats.org/officeDocument/2006/relationships/slideLayout" Target="../slideLayouts/slideLayout175.xml"/><Relationship Id="rId7" Type="http://schemas.openxmlformats.org/officeDocument/2006/relationships/slideLayout" Target="../slideLayouts/slideLayout179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174.xml"/><Relationship Id="rId1" Type="http://schemas.openxmlformats.org/officeDocument/2006/relationships/slideLayout" Target="../slideLayouts/slideLayout173.xml"/><Relationship Id="rId6" Type="http://schemas.openxmlformats.org/officeDocument/2006/relationships/slideLayout" Target="../slideLayouts/slideLayout178.xml"/><Relationship Id="rId11" Type="http://schemas.openxmlformats.org/officeDocument/2006/relationships/slideLayout" Target="../slideLayouts/slideLayout183.xml"/><Relationship Id="rId5" Type="http://schemas.openxmlformats.org/officeDocument/2006/relationships/slideLayout" Target="../slideLayouts/slideLayout177.xml"/><Relationship Id="rId10" Type="http://schemas.openxmlformats.org/officeDocument/2006/relationships/slideLayout" Target="../slideLayouts/slideLayout182.xml"/><Relationship Id="rId4" Type="http://schemas.openxmlformats.org/officeDocument/2006/relationships/slideLayout" Target="../slideLayouts/slideLayout176.xml"/><Relationship Id="rId9" Type="http://schemas.openxmlformats.org/officeDocument/2006/relationships/slideLayout" Target="../slideLayouts/slideLayout18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o 10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081095944"/>
              </p:ext>
            </p:extLst>
          </p:nvPr>
        </p:nvGraphicFramePr>
        <p:xfrm>
          <a:off x="1210" y="1210"/>
          <a:ext cx="1210" cy="12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446" name="Diapositiva de think-cell" r:id="rId5" imgW="415" imgH="416" progId="TCLayout.ActiveDocument.1">
                  <p:embed/>
                </p:oleObj>
              </mc:Choice>
              <mc:Fallback>
                <p:oleObj name="Diapositiva de think-cell" r:id="rId5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10" y="1210"/>
                        <a:ext cx="1210" cy="121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322" y="274563"/>
            <a:ext cx="10974946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322" y="1600202"/>
            <a:ext cx="10974946" cy="45260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s-CL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321" y="6356049"/>
            <a:ext cx="2845888" cy="3652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CL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6083" y="6356049"/>
            <a:ext cx="3861423" cy="3652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CL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8380" y="6356049"/>
            <a:ext cx="2845888" cy="3652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E7AC92D-A6F9-4366-8D77-DC34AE477EA9}" type="slidenum">
              <a:rPr lang="es-CL" smtClean="0"/>
              <a:t>‹Nº›</a:t>
            </a:fld>
            <a:endParaRPr lang="es-CL" dirty="0"/>
          </a:p>
        </p:txBody>
      </p:sp>
      <p:sp>
        <p:nvSpPr>
          <p:cNvPr id="7" name="Rectangle 6"/>
          <p:cNvSpPr/>
          <p:nvPr userDrawn="1"/>
        </p:nvSpPr>
        <p:spPr>
          <a:xfrm>
            <a:off x="0" y="1"/>
            <a:ext cx="12193588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2107" dirty="0"/>
          </a:p>
        </p:txBody>
      </p:sp>
      <p:pic>
        <p:nvPicPr>
          <p:cNvPr id="8" name="Picture 7" descr="C:\Users\Leslie\AppData\Local\Temp\x10sctmp.png"/>
          <p:cNvPicPr>
            <a:picLocks noChangeAspect="1" noChangeArrowheads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121918" y="302382"/>
            <a:ext cx="723047" cy="7124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Slide Number Placeholder 1"/>
          <p:cNvSpPr txBox="1">
            <a:spLocks/>
          </p:cNvSpPr>
          <p:nvPr userDrawn="1"/>
        </p:nvSpPr>
        <p:spPr>
          <a:xfrm>
            <a:off x="9103747" y="6487184"/>
            <a:ext cx="2845888" cy="365276"/>
          </a:xfrm>
          <a:prstGeom prst="rect">
            <a:avLst/>
          </a:prstGeom>
        </p:spPr>
        <p:txBody>
          <a:bodyPr vert="horz" lIns="68808" tIns="34405" rIns="68808" bIns="34405" rtlCol="0" anchor="ctr"/>
          <a:lstStyle>
            <a:defPPr>
              <a:defRPr lang="es-CL"/>
            </a:defPPr>
            <a:lvl1pPr marL="0" algn="r" defTabSz="1440180" rtl="0" eaLnBrk="1" latinLnBrk="0" hangingPunct="1">
              <a:defRPr sz="2400" kern="1200">
                <a:solidFill>
                  <a:srgbClr val="FF3399"/>
                </a:solidFill>
                <a:latin typeface="Tw Cen MT" pitchFamily="34" charset="0"/>
                <a:ea typeface="+mn-ea"/>
                <a:cs typeface="+mn-cs"/>
              </a:defRPr>
            </a:lvl1pPr>
            <a:lvl2pPr marL="720090" algn="l" defTabSz="1440180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40180" algn="l" defTabSz="1440180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60270" algn="l" defTabSz="1440180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880360" algn="l" defTabSz="1440180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00450" algn="l" defTabSz="1440180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540" algn="l" defTabSz="1440180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040630" algn="l" defTabSz="1440180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720" algn="l" defTabSz="1440180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F2FB80-0D90-44FD-B9C0-03B43FA6E588}" type="slidenum">
              <a:rPr lang="es-CL" sz="1505" b="1" smtClean="0"/>
              <a:pPr/>
              <a:t>‹Nº›</a:t>
            </a:fld>
            <a:endParaRPr lang="es-CL" sz="1505" b="1" dirty="0"/>
          </a:p>
        </p:txBody>
      </p:sp>
    </p:spTree>
    <p:extLst>
      <p:ext uri="{BB962C8B-B14F-4D97-AF65-F5344CB8AC3E}">
        <p14:creationId xmlns:p14="http://schemas.microsoft.com/office/powerpoint/2010/main" val="15836232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</p:sldLayoutIdLs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  <p:hf hdr="0" dt="0"/>
  <p:txStyles>
    <p:titleStyle>
      <a:lvl1pPr algn="ctr" defTabSz="688112" rtl="0" eaLnBrk="1" latinLnBrk="0" hangingPunct="1">
        <a:spcBef>
          <a:spcPct val="0"/>
        </a:spcBef>
        <a:buNone/>
        <a:defRPr sz="3311" kern="1200">
          <a:solidFill>
            <a:schemeClr val="tx1"/>
          </a:solidFill>
          <a:latin typeface="Tw Cen MT" pitchFamily="34" charset="0"/>
          <a:ea typeface="+mj-ea"/>
          <a:cs typeface="+mj-cs"/>
        </a:defRPr>
      </a:lvl1pPr>
    </p:titleStyle>
    <p:bodyStyle>
      <a:lvl1pPr marL="258042" indent="-258042" algn="l" defTabSz="688112" rtl="0" eaLnBrk="1" latinLnBrk="0" hangingPunct="1">
        <a:spcBef>
          <a:spcPct val="20000"/>
        </a:spcBef>
        <a:buClr>
          <a:srgbClr val="FF3399"/>
        </a:buClr>
        <a:buFont typeface="Wingdings" pitchFamily="2" charset="2"/>
        <a:buChar char="ü"/>
        <a:defRPr sz="2408" kern="1200">
          <a:solidFill>
            <a:schemeClr val="tx1"/>
          </a:solidFill>
          <a:latin typeface="Tw Cen MT" pitchFamily="34" charset="0"/>
          <a:ea typeface="+mn-ea"/>
          <a:cs typeface="+mn-cs"/>
        </a:defRPr>
      </a:lvl1pPr>
      <a:lvl2pPr marL="559091" indent="-215035" algn="l" defTabSz="688112" rtl="0" eaLnBrk="1" latinLnBrk="0" hangingPunct="1">
        <a:spcBef>
          <a:spcPct val="20000"/>
        </a:spcBef>
        <a:buClr>
          <a:srgbClr val="FF3399"/>
        </a:buClr>
        <a:buFont typeface="Wingdings" pitchFamily="2" charset="2"/>
        <a:buChar char="ü"/>
        <a:defRPr sz="2107" kern="1200">
          <a:solidFill>
            <a:schemeClr val="tx1"/>
          </a:solidFill>
          <a:latin typeface="Tw Cen MT" pitchFamily="34" charset="0"/>
          <a:ea typeface="+mn-ea"/>
          <a:cs typeface="+mn-cs"/>
        </a:defRPr>
      </a:lvl2pPr>
      <a:lvl3pPr marL="860140" indent="-172028" algn="l" defTabSz="688112" rtl="0" eaLnBrk="1" latinLnBrk="0" hangingPunct="1">
        <a:spcBef>
          <a:spcPct val="20000"/>
        </a:spcBef>
        <a:buClr>
          <a:srgbClr val="FF3399"/>
        </a:buClr>
        <a:buFont typeface="Wingdings" pitchFamily="2" charset="2"/>
        <a:buChar char="ü"/>
        <a:defRPr sz="1806" kern="1200">
          <a:solidFill>
            <a:schemeClr val="tx1"/>
          </a:solidFill>
          <a:latin typeface="Tw Cen MT" pitchFamily="34" charset="0"/>
          <a:ea typeface="+mn-ea"/>
          <a:cs typeface="+mn-cs"/>
        </a:defRPr>
      </a:lvl3pPr>
      <a:lvl4pPr marL="1204197" indent="-172028" algn="l" defTabSz="688112" rtl="0" eaLnBrk="1" latinLnBrk="0" hangingPunct="1">
        <a:spcBef>
          <a:spcPct val="20000"/>
        </a:spcBef>
        <a:buClr>
          <a:srgbClr val="FF3399"/>
        </a:buClr>
        <a:buFont typeface="Wingdings" pitchFamily="2" charset="2"/>
        <a:buChar char="ü"/>
        <a:defRPr sz="1505" kern="1200">
          <a:solidFill>
            <a:schemeClr val="tx1"/>
          </a:solidFill>
          <a:latin typeface="Tw Cen MT" pitchFamily="34" charset="0"/>
          <a:ea typeface="+mn-ea"/>
          <a:cs typeface="+mn-cs"/>
        </a:defRPr>
      </a:lvl4pPr>
      <a:lvl5pPr marL="1548252" indent="-172028" algn="l" defTabSz="688112" rtl="0" eaLnBrk="1" latinLnBrk="0" hangingPunct="1">
        <a:spcBef>
          <a:spcPct val="20000"/>
        </a:spcBef>
        <a:buClr>
          <a:srgbClr val="FF3399"/>
        </a:buClr>
        <a:buFont typeface="Wingdings" pitchFamily="2" charset="2"/>
        <a:buChar char="ü"/>
        <a:defRPr sz="1505" kern="1200">
          <a:solidFill>
            <a:schemeClr val="tx1"/>
          </a:solidFill>
          <a:latin typeface="Tw Cen MT" pitchFamily="34" charset="0"/>
          <a:ea typeface="+mn-ea"/>
          <a:cs typeface="+mn-cs"/>
        </a:defRPr>
      </a:lvl5pPr>
      <a:lvl6pPr marL="1892308" indent="-172028" algn="l" defTabSz="688112" rtl="0" eaLnBrk="1" latinLnBrk="0" hangingPunct="1">
        <a:spcBef>
          <a:spcPct val="20000"/>
        </a:spcBef>
        <a:buFont typeface="Arial" pitchFamily="34" charset="0"/>
        <a:buChar char="•"/>
        <a:defRPr sz="1505" kern="1200">
          <a:solidFill>
            <a:schemeClr val="tx1"/>
          </a:solidFill>
          <a:latin typeface="+mn-lt"/>
          <a:ea typeface="+mn-ea"/>
          <a:cs typeface="+mn-cs"/>
        </a:defRPr>
      </a:lvl6pPr>
      <a:lvl7pPr marL="2236365" indent="-172028" algn="l" defTabSz="688112" rtl="0" eaLnBrk="1" latinLnBrk="0" hangingPunct="1">
        <a:spcBef>
          <a:spcPct val="20000"/>
        </a:spcBef>
        <a:buFont typeface="Arial" pitchFamily="34" charset="0"/>
        <a:buChar char="•"/>
        <a:defRPr sz="1505" kern="1200">
          <a:solidFill>
            <a:schemeClr val="tx1"/>
          </a:solidFill>
          <a:latin typeface="+mn-lt"/>
          <a:ea typeface="+mn-ea"/>
          <a:cs typeface="+mn-cs"/>
        </a:defRPr>
      </a:lvl7pPr>
      <a:lvl8pPr marL="2580420" indent="-172028" algn="l" defTabSz="688112" rtl="0" eaLnBrk="1" latinLnBrk="0" hangingPunct="1">
        <a:spcBef>
          <a:spcPct val="20000"/>
        </a:spcBef>
        <a:buFont typeface="Arial" pitchFamily="34" charset="0"/>
        <a:buChar char="•"/>
        <a:defRPr sz="1505" kern="1200">
          <a:solidFill>
            <a:schemeClr val="tx1"/>
          </a:solidFill>
          <a:latin typeface="+mn-lt"/>
          <a:ea typeface="+mn-ea"/>
          <a:cs typeface="+mn-cs"/>
        </a:defRPr>
      </a:lvl8pPr>
      <a:lvl9pPr marL="2924477" indent="-172028" algn="l" defTabSz="688112" rtl="0" eaLnBrk="1" latinLnBrk="0" hangingPunct="1">
        <a:spcBef>
          <a:spcPct val="20000"/>
        </a:spcBef>
        <a:buFont typeface="Arial" pitchFamily="34" charset="0"/>
        <a:buChar char="•"/>
        <a:defRPr sz="15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688112" rtl="0" eaLnBrk="1" latinLnBrk="0" hangingPunct="1">
        <a:defRPr sz="1355" kern="1200">
          <a:solidFill>
            <a:schemeClr val="tx1"/>
          </a:solidFill>
          <a:latin typeface="+mn-lt"/>
          <a:ea typeface="+mn-ea"/>
          <a:cs typeface="+mn-cs"/>
        </a:defRPr>
      </a:lvl1pPr>
      <a:lvl2pPr marL="344056" algn="l" defTabSz="688112" rtl="0" eaLnBrk="1" latinLnBrk="0" hangingPunct="1">
        <a:defRPr sz="1355" kern="1200">
          <a:solidFill>
            <a:schemeClr val="tx1"/>
          </a:solidFill>
          <a:latin typeface="+mn-lt"/>
          <a:ea typeface="+mn-ea"/>
          <a:cs typeface="+mn-cs"/>
        </a:defRPr>
      </a:lvl2pPr>
      <a:lvl3pPr marL="688112" algn="l" defTabSz="688112" rtl="0" eaLnBrk="1" latinLnBrk="0" hangingPunct="1">
        <a:defRPr sz="1355" kern="1200">
          <a:solidFill>
            <a:schemeClr val="tx1"/>
          </a:solidFill>
          <a:latin typeface="+mn-lt"/>
          <a:ea typeface="+mn-ea"/>
          <a:cs typeface="+mn-cs"/>
        </a:defRPr>
      </a:lvl3pPr>
      <a:lvl4pPr marL="1032168" algn="l" defTabSz="688112" rtl="0" eaLnBrk="1" latinLnBrk="0" hangingPunct="1">
        <a:defRPr sz="1355" kern="1200">
          <a:solidFill>
            <a:schemeClr val="tx1"/>
          </a:solidFill>
          <a:latin typeface="+mn-lt"/>
          <a:ea typeface="+mn-ea"/>
          <a:cs typeface="+mn-cs"/>
        </a:defRPr>
      </a:lvl4pPr>
      <a:lvl5pPr marL="1376225" algn="l" defTabSz="688112" rtl="0" eaLnBrk="1" latinLnBrk="0" hangingPunct="1">
        <a:defRPr sz="1355" kern="1200">
          <a:solidFill>
            <a:schemeClr val="tx1"/>
          </a:solidFill>
          <a:latin typeface="+mn-lt"/>
          <a:ea typeface="+mn-ea"/>
          <a:cs typeface="+mn-cs"/>
        </a:defRPr>
      </a:lvl5pPr>
      <a:lvl6pPr marL="1720280" algn="l" defTabSz="688112" rtl="0" eaLnBrk="1" latinLnBrk="0" hangingPunct="1">
        <a:defRPr sz="1355" kern="1200">
          <a:solidFill>
            <a:schemeClr val="tx1"/>
          </a:solidFill>
          <a:latin typeface="+mn-lt"/>
          <a:ea typeface="+mn-ea"/>
          <a:cs typeface="+mn-cs"/>
        </a:defRPr>
      </a:lvl6pPr>
      <a:lvl7pPr marL="2064337" algn="l" defTabSz="688112" rtl="0" eaLnBrk="1" latinLnBrk="0" hangingPunct="1">
        <a:defRPr sz="1355" kern="1200">
          <a:solidFill>
            <a:schemeClr val="tx1"/>
          </a:solidFill>
          <a:latin typeface="+mn-lt"/>
          <a:ea typeface="+mn-ea"/>
          <a:cs typeface="+mn-cs"/>
        </a:defRPr>
      </a:lvl7pPr>
      <a:lvl8pPr marL="2408393" algn="l" defTabSz="688112" rtl="0" eaLnBrk="1" latinLnBrk="0" hangingPunct="1">
        <a:defRPr sz="1355" kern="1200">
          <a:solidFill>
            <a:schemeClr val="tx1"/>
          </a:solidFill>
          <a:latin typeface="+mn-lt"/>
          <a:ea typeface="+mn-ea"/>
          <a:cs typeface="+mn-cs"/>
        </a:defRPr>
      </a:lvl8pPr>
      <a:lvl9pPr marL="2752449" algn="l" defTabSz="688112" rtl="0" eaLnBrk="1" latinLnBrk="0" hangingPunct="1">
        <a:defRPr sz="135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 userDrawn="1">
            <p:custDataLst>
              <p:tags r:id="rId136"/>
            </p:custDataLst>
            <p:extLst>
              <p:ext uri="{D42A27DB-BD31-4B8C-83A1-F6EECF244321}">
                <p14:modId xmlns:p14="http://schemas.microsoft.com/office/powerpoint/2010/main" val="12541500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07" name="Diapositiva de think-cell" r:id="rId137" imgW="415" imgH="416" progId="TCLayout.ActiveDocument.1">
                  <p:embed/>
                </p:oleObj>
              </mc:Choice>
              <mc:Fallback>
                <p:oleObj name="Diapositiva de think-cell" r:id="rId137" imgW="415" imgH="416" progId="TCLayout.ActiveDocument.1">
                  <p:embed/>
                  <p:pic>
                    <p:nvPicPr>
                      <p:cNvPr id="8" name="Objeto 7" hidden="1"/>
                      <p:cNvPicPr/>
                      <p:nvPr/>
                    </p:nvPicPr>
                    <p:blipFill>
                      <a:blip r:embed="rId13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ítulo 1">
            <a:extLst>
              <a:ext uri="{FF2B5EF4-FFF2-40B4-BE49-F238E27FC236}">
                <a16:creationId xmlns:a16="http://schemas.microsoft.com/office/drawing/2014/main" xmlns="" id="{3FDF6499-BF75-2B43-873E-5F8A11B072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310" y="365130"/>
            <a:ext cx="10516969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xmlns="" id="{AE4DACB6-C16E-AD4D-A050-D8371C5A5FF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310" y="1825625"/>
            <a:ext cx="10516969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A4EF3D5B-E3F7-9F4F-A990-962CE7AE315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309" y="6356358"/>
            <a:ext cx="274355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DB3C94-6D56-164E-BA24-E6E2F14D2128}" type="datetimeFigureOut">
              <a:rPr lang="es-CL" smtClean="0"/>
              <a:t>04-02-2025</a:t>
            </a:fld>
            <a:endParaRPr lang="es-CL" dirty="0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248991B7-C8D3-BA4C-977D-6C4B10D1ED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9126" y="6356358"/>
            <a:ext cx="41153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CL" dirty="0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0CC28B88-4B6B-1549-9AC7-3FB21D7B07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1722" y="6356358"/>
            <a:ext cx="274355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783AE60-A720-A443-B80B-BB7E1A5C8997}" type="slidenum">
              <a:rPr lang="es-CL" smtClean="0"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4788185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6" r:id="rId5"/>
    <p:sldLayoutId id="2147483727" r:id="rId6"/>
    <p:sldLayoutId id="2147483728" r:id="rId7"/>
    <p:sldLayoutId id="2147483729" r:id="rId8"/>
    <p:sldLayoutId id="2147483730" r:id="rId9"/>
    <p:sldLayoutId id="2147483731" r:id="rId10"/>
    <p:sldLayoutId id="2147483732" r:id="rId11"/>
    <p:sldLayoutId id="2147483733" r:id="rId12"/>
    <p:sldLayoutId id="2147483734" r:id="rId13"/>
    <p:sldLayoutId id="2147483735" r:id="rId14"/>
    <p:sldLayoutId id="2147483736" r:id="rId15"/>
    <p:sldLayoutId id="2147483737" r:id="rId16"/>
    <p:sldLayoutId id="2147483738" r:id="rId17"/>
    <p:sldLayoutId id="2147484036" r:id="rId18"/>
    <p:sldLayoutId id="2147483740" r:id="rId19"/>
    <p:sldLayoutId id="2147483741" r:id="rId20"/>
    <p:sldLayoutId id="2147483742" r:id="rId21"/>
    <p:sldLayoutId id="2147483743" r:id="rId22"/>
    <p:sldLayoutId id="2147483744" r:id="rId23"/>
    <p:sldLayoutId id="2147483745" r:id="rId24"/>
    <p:sldLayoutId id="2147483746" r:id="rId25"/>
    <p:sldLayoutId id="2147483747" r:id="rId26"/>
    <p:sldLayoutId id="2147483748" r:id="rId27"/>
    <p:sldLayoutId id="2147483749" r:id="rId28"/>
    <p:sldLayoutId id="2147483750" r:id="rId29"/>
    <p:sldLayoutId id="2147483751" r:id="rId30"/>
    <p:sldLayoutId id="2147483752" r:id="rId31"/>
    <p:sldLayoutId id="2147483753" r:id="rId32"/>
    <p:sldLayoutId id="2147483754" r:id="rId33"/>
    <p:sldLayoutId id="2147483755" r:id="rId34"/>
    <p:sldLayoutId id="2147483756" r:id="rId35"/>
    <p:sldLayoutId id="2147483757" r:id="rId36"/>
    <p:sldLayoutId id="2147483758" r:id="rId37"/>
    <p:sldLayoutId id="2147483759" r:id="rId38"/>
    <p:sldLayoutId id="2147483760" r:id="rId39"/>
    <p:sldLayoutId id="2147483761" r:id="rId40"/>
    <p:sldLayoutId id="2147483762" r:id="rId41"/>
    <p:sldLayoutId id="2147483763" r:id="rId42"/>
    <p:sldLayoutId id="2147483764" r:id="rId43"/>
    <p:sldLayoutId id="2147483765" r:id="rId44"/>
    <p:sldLayoutId id="2147483766" r:id="rId45"/>
    <p:sldLayoutId id="2147483767" r:id="rId46"/>
    <p:sldLayoutId id="2147483768" r:id="rId47"/>
    <p:sldLayoutId id="2147483769" r:id="rId48"/>
    <p:sldLayoutId id="2147483770" r:id="rId49"/>
    <p:sldLayoutId id="2147483771" r:id="rId50"/>
    <p:sldLayoutId id="2147483772" r:id="rId51"/>
    <p:sldLayoutId id="2147483773" r:id="rId52"/>
    <p:sldLayoutId id="2147483774" r:id="rId53"/>
    <p:sldLayoutId id="2147483775" r:id="rId54"/>
    <p:sldLayoutId id="2147483776" r:id="rId55"/>
    <p:sldLayoutId id="2147483777" r:id="rId56"/>
    <p:sldLayoutId id="2147483778" r:id="rId57"/>
    <p:sldLayoutId id="2147483779" r:id="rId58"/>
    <p:sldLayoutId id="2147483780" r:id="rId59"/>
    <p:sldLayoutId id="2147483781" r:id="rId60"/>
    <p:sldLayoutId id="2147483782" r:id="rId61"/>
    <p:sldLayoutId id="2147483783" r:id="rId62"/>
    <p:sldLayoutId id="2147483784" r:id="rId63"/>
    <p:sldLayoutId id="2147483785" r:id="rId64"/>
    <p:sldLayoutId id="2147483786" r:id="rId65"/>
    <p:sldLayoutId id="2147483787" r:id="rId66"/>
    <p:sldLayoutId id="2147483788" r:id="rId67"/>
    <p:sldLayoutId id="2147483790" r:id="rId68"/>
    <p:sldLayoutId id="2147483791" r:id="rId69"/>
    <p:sldLayoutId id="2147483792" r:id="rId70"/>
    <p:sldLayoutId id="2147483793" r:id="rId71"/>
    <p:sldLayoutId id="2147483794" r:id="rId72"/>
    <p:sldLayoutId id="2147483795" r:id="rId73"/>
    <p:sldLayoutId id="2147483796" r:id="rId74"/>
    <p:sldLayoutId id="2147483798" r:id="rId75"/>
    <p:sldLayoutId id="2147483955" r:id="rId76"/>
    <p:sldLayoutId id="2147483956" r:id="rId77"/>
    <p:sldLayoutId id="2147483957" r:id="rId78"/>
    <p:sldLayoutId id="2147483958" r:id="rId79"/>
    <p:sldLayoutId id="2147483959" r:id="rId80"/>
    <p:sldLayoutId id="2147483960" r:id="rId81"/>
    <p:sldLayoutId id="2147483961" r:id="rId82"/>
    <p:sldLayoutId id="2147483962" r:id="rId83"/>
    <p:sldLayoutId id="2147483963" r:id="rId84"/>
    <p:sldLayoutId id="2147483964" r:id="rId85"/>
    <p:sldLayoutId id="2147483965" r:id="rId86"/>
    <p:sldLayoutId id="2147483966" r:id="rId87"/>
    <p:sldLayoutId id="2147483967" r:id="rId88"/>
    <p:sldLayoutId id="2147483968" r:id="rId89"/>
    <p:sldLayoutId id="2147483969" r:id="rId90"/>
    <p:sldLayoutId id="2147483970" r:id="rId91"/>
    <p:sldLayoutId id="2147483971" r:id="rId92"/>
    <p:sldLayoutId id="2147483972" r:id="rId93"/>
    <p:sldLayoutId id="2147483973" r:id="rId94"/>
    <p:sldLayoutId id="2147483974" r:id="rId95"/>
    <p:sldLayoutId id="2147483975" r:id="rId96"/>
    <p:sldLayoutId id="2147483976" r:id="rId97"/>
    <p:sldLayoutId id="2147483977" r:id="rId98"/>
    <p:sldLayoutId id="2147483978" r:id="rId99"/>
    <p:sldLayoutId id="2147483979" r:id="rId100"/>
    <p:sldLayoutId id="2147483980" r:id="rId101"/>
    <p:sldLayoutId id="2147483981" r:id="rId102"/>
    <p:sldLayoutId id="2147483982" r:id="rId103"/>
    <p:sldLayoutId id="2147483983" r:id="rId104"/>
    <p:sldLayoutId id="2147483984" r:id="rId105"/>
    <p:sldLayoutId id="2147483985" r:id="rId106"/>
    <p:sldLayoutId id="2147483986" r:id="rId107"/>
    <p:sldLayoutId id="2147483987" r:id="rId108"/>
    <p:sldLayoutId id="2147483988" r:id="rId109"/>
    <p:sldLayoutId id="2147483989" r:id="rId110"/>
    <p:sldLayoutId id="2147483990" r:id="rId111"/>
    <p:sldLayoutId id="2147483991" r:id="rId112"/>
    <p:sldLayoutId id="2147483992" r:id="rId113"/>
    <p:sldLayoutId id="2147483993" r:id="rId114"/>
    <p:sldLayoutId id="2147483994" r:id="rId115"/>
    <p:sldLayoutId id="2147483995" r:id="rId116"/>
    <p:sldLayoutId id="2147483996" r:id="rId117"/>
    <p:sldLayoutId id="2147483997" r:id="rId118"/>
    <p:sldLayoutId id="2147483998" r:id="rId119"/>
    <p:sldLayoutId id="2147483999" r:id="rId120"/>
    <p:sldLayoutId id="2147484000" r:id="rId121"/>
    <p:sldLayoutId id="2147484001" r:id="rId122"/>
    <p:sldLayoutId id="2147484002" r:id="rId123"/>
    <p:sldLayoutId id="2147484003" r:id="rId124"/>
    <p:sldLayoutId id="2147484005" r:id="rId125"/>
    <p:sldLayoutId id="2147484006" r:id="rId126"/>
    <p:sldLayoutId id="2147484007" r:id="rId127"/>
    <p:sldLayoutId id="2147484008" r:id="rId128"/>
    <p:sldLayoutId id="2147484009" r:id="rId129"/>
    <p:sldLayoutId id="2147484010" r:id="rId130"/>
    <p:sldLayoutId id="2147484011" r:id="rId131"/>
    <p:sldLayoutId id="2147484013" r:id="rId132"/>
    <p:sldLayoutId id="2147484015" r:id="rId133"/>
  </p:sldLayoutIdLst>
  <p:txStyles>
    <p:titleStyle>
      <a:lvl1pPr algn="l" defTabSz="913363" rtl="0" eaLnBrk="1" latinLnBrk="0" hangingPunct="1">
        <a:lnSpc>
          <a:spcPct val="90000"/>
        </a:lnSpc>
        <a:spcBef>
          <a:spcPct val="0"/>
        </a:spcBef>
        <a:buNone/>
        <a:defRPr sz="4396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339" indent="-228339" algn="l" defTabSz="91336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796" kern="1200">
          <a:solidFill>
            <a:schemeClr val="tx1"/>
          </a:solidFill>
          <a:latin typeface="+mn-lt"/>
          <a:ea typeface="+mn-ea"/>
          <a:cs typeface="+mn-cs"/>
        </a:defRPr>
      </a:lvl1pPr>
      <a:lvl2pPr marL="685021" indent="-228339" algn="l" defTabSz="91336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396" kern="1200">
          <a:solidFill>
            <a:schemeClr val="tx1"/>
          </a:solidFill>
          <a:latin typeface="+mn-lt"/>
          <a:ea typeface="+mn-ea"/>
          <a:cs typeface="+mn-cs"/>
        </a:defRPr>
      </a:lvl2pPr>
      <a:lvl3pPr marL="1141703" indent="-228339" algn="l" defTabSz="91336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96" kern="1200">
          <a:solidFill>
            <a:schemeClr val="tx1"/>
          </a:solidFill>
          <a:latin typeface="+mn-lt"/>
          <a:ea typeface="+mn-ea"/>
          <a:cs typeface="+mn-cs"/>
        </a:defRPr>
      </a:lvl3pPr>
      <a:lvl4pPr marL="1598385" indent="-228339" algn="l" defTabSz="91336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7" kern="1200">
          <a:solidFill>
            <a:schemeClr val="tx1"/>
          </a:solidFill>
          <a:latin typeface="+mn-lt"/>
          <a:ea typeface="+mn-ea"/>
          <a:cs typeface="+mn-cs"/>
        </a:defRPr>
      </a:lvl4pPr>
      <a:lvl5pPr marL="2055066" indent="-228339" algn="l" defTabSz="91336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7" kern="1200">
          <a:solidFill>
            <a:schemeClr val="tx1"/>
          </a:solidFill>
          <a:latin typeface="+mn-lt"/>
          <a:ea typeface="+mn-ea"/>
          <a:cs typeface="+mn-cs"/>
        </a:defRPr>
      </a:lvl5pPr>
      <a:lvl6pPr marL="2511748" indent="-228339" algn="l" defTabSz="91336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7" kern="1200">
          <a:solidFill>
            <a:schemeClr val="tx1"/>
          </a:solidFill>
          <a:latin typeface="+mn-lt"/>
          <a:ea typeface="+mn-ea"/>
          <a:cs typeface="+mn-cs"/>
        </a:defRPr>
      </a:lvl6pPr>
      <a:lvl7pPr marL="2968429" indent="-228339" algn="l" defTabSz="91336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7" kern="1200">
          <a:solidFill>
            <a:schemeClr val="tx1"/>
          </a:solidFill>
          <a:latin typeface="+mn-lt"/>
          <a:ea typeface="+mn-ea"/>
          <a:cs typeface="+mn-cs"/>
        </a:defRPr>
      </a:lvl7pPr>
      <a:lvl8pPr marL="3425111" indent="-228339" algn="l" defTabSz="91336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7" kern="1200">
          <a:solidFill>
            <a:schemeClr val="tx1"/>
          </a:solidFill>
          <a:latin typeface="+mn-lt"/>
          <a:ea typeface="+mn-ea"/>
          <a:cs typeface="+mn-cs"/>
        </a:defRPr>
      </a:lvl8pPr>
      <a:lvl9pPr marL="3881791" indent="-228339" algn="l" defTabSz="91336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3363" rtl="0" eaLnBrk="1" latinLnBrk="0" hangingPunct="1">
        <a:defRPr sz="1797" kern="1200">
          <a:solidFill>
            <a:schemeClr val="tx1"/>
          </a:solidFill>
          <a:latin typeface="+mn-lt"/>
          <a:ea typeface="+mn-ea"/>
          <a:cs typeface="+mn-cs"/>
        </a:defRPr>
      </a:lvl1pPr>
      <a:lvl2pPr marL="456682" algn="l" defTabSz="913363" rtl="0" eaLnBrk="1" latinLnBrk="0" hangingPunct="1">
        <a:defRPr sz="1797" kern="1200">
          <a:solidFill>
            <a:schemeClr val="tx1"/>
          </a:solidFill>
          <a:latin typeface="+mn-lt"/>
          <a:ea typeface="+mn-ea"/>
          <a:cs typeface="+mn-cs"/>
        </a:defRPr>
      </a:lvl2pPr>
      <a:lvl3pPr marL="913363" algn="l" defTabSz="913363" rtl="0" eaLnBrk="1" latinLnBrk="0" hangingPunct="1">
        <a:defRPr sz="1797" kern="1200">
          <a:solidFill>
            <a:schemeClr val="tx1"/>
          </a:solidFill>
          <a:latin typeface="+mn-lt"/>
          <a:ea typeface="+mn-ea"/>
          <a:cs typeface="+mn-cs"/>
        </a:defRPr>
      </a:lvl3pPr>
      <a:lvl4pPr marL="1370046" algn="l" defTabSz="913363" rtl="0" eaLnBrk="1" latinLnBrk="0" hangingPunct="1">
        <a:defRPr sz="1797" kern="1200">
          <a:solidFill>
            <a:schemeClr val="tx1"/>
          </a:solidFill>
          <a:latin typeface="+mn-lt"/>
          <a:ea typeface="+mn-ea"/>
          <a:cs typeface="+mn-cs"/>
        </a:defRPr>
      </a:lvl4pPr>
      <a:lvl5pPr marL="1826726" algn="l" defTabSz="913363" rtl="0" eaLnBrk="1" latinLnBrk="0" hangingPunct="1">
        <a:defRPr sz="1797" kern="1200">
          <a:solidFill>
            <a:schemeClr val="tx1"/>
          </a:solidFill>
          <a:latin typeface="+mn-lt"/>
          <a:ea typeface="+mn-ea"/>
          <a:cs typeface="+mn-cs"/>
        </a:defRPr>
      </a:lvl5pPr>
      <a:lvl6pPr marL="2283407" algn="l" defTabSz="913363" rtl="0" eaLnBrk="1" latinLnBrk="0" hangingPunct="1">
        <a:defRPr sz="1797" kern="1200">
          <a:solidFill>
            <a:schemeClr val="tx1"/>
          </a:solidFill>
          <a:latin typeface="+mn-lt"/>
          <a:ea typeface="+mn-ea"/>
          <a:cs typeface="+mn-cs"/>
        </a:defRPr>
      </a:lvl6pPr>
      <a:lvl7pPr marL="2740089" algn="l" defTabSz="913363" rtl="0" eaLnBrk="1" latinLnBrk="0" hangingPunct="1">
        <a:defRPr sz="1797" kern="1200">
          <a:solidFill>
            <a:schemeClr val="tx1"/>
          </a:solidFill>
          <a:latin typeface="+mn-lt"/>
          <a:ea typeface="+mn-ea"/>
          <a:cs typeface="+mn-cs"/>
        </a:defRPr>
      </a:lvl7pPr>
      <a:lvl8pPr marL="3196769" algn="l" defTabSz="913363" rtl="0" eaLnBrk="1" latinLnBrk="0" hangingPunct="1">
        <a:defRPr sz="1797" kern="1200">
          <a:solidFill>
            <a:schemeClr val="tx1"/>
          </a:solidFill>
          <a:latin typeface="+mn-lt"/>
          <a:ea typeface="+mn-ea"/>
          <a:cs typeface="+mn-cs"/>
        </a:defRPr>
      </a:lvl8pPr>
      <a:lvl9pPr marL="3653451" algn="l" defTabSz="913363" rtl="0" eaLnBrk="1" latinLnBrk="0" hangingPunct="1">
        <a:defRPr sz="179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/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805" name="Diapositiva de think-cell" r:id="rId18" imgW="415" imgH="416" progId="TCLayout.ActiveDocument.1">
                  <p:embed/>
                </p:oleObj>
              </mc:Choice>
              <mc:Fallback>
                <p:oleObj name="Diapositiva de think-cell" r:id="rId18" imgW="415" imgH="416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6661622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1" r:id="rId1"/>
    <p:sldLayoutId id="2147483802" r:id="rId2"/>
    <p:sldLayoutId id="2147483803" r:id="rId3"/>
    <p:sldLayoutId id="2147483804" r:id="rId4"/>
    <p:sldLayoutId id="2147483805" r:id="rId5"/>
    <p:sldLayoutId id="2147483806" r:id="rId6"/>
    <p:sldLayoutId id="2147483807" r:id="rId7"/>
    <p:sldLayoutId id="2147483808" r:id="rId8"/>
    <p:sldLayoutId id="2147483809" r:id="rId9"/>
    <p:sldLayoutId id="2147483810" r:id="rId10"/>
    <p:sldLayoutId id="2147483811" r:id="rId11"/>
    <p:sldLayoutId id="2147483812" r:id="rId12"/>
    <p:sldLayoutId id="2147483813" r:id="rId13"/>
    <p:sldLayoutId id="2147483814" r:id="rId14"/>
  </p:sldLayoutIdLst>
  <p:txStyles>
    <p:titleStyle>
      <a:lvl1pPr algn="ctr" defTabSz="913911" rtl="0" eaLnBrk="1" latinLnBrk="0" hangingPunct="1">
        <a:spcBef>
          <a:spcPct val="0"/>
        </a:spcBef>
        <a:buNone/>
        <a:defRPr sz="439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716" indent="-342716" algn="l" defTabSz="913911" rtl="0" eaLnBrk="1" latinLnBrk="0" hangingPunct="1">
        <a:spcBef>
          <a:spcPct val="20000"/>
        </a:spcBef>
        <a:buFont typeface="Arial" pitchFamily="34" charset="0"/>
        <a:buChar char="•"/>
        <a:defRPr sz="3198" kern="1200">
          <a:solidFill>
            <a:schemeClr val="tx1"/>
          </a:solidFill>
          <a:latin typeface="+mn-lt"/>
          <a:ea typeface="+mn-ea"/>
          <a:cs typeface="+mn-cs"/>
        </a:defRPr>
      </a:lvl1pPr>
      <a:lvl2pPr marL="742552" indent="-285597" algn="l" defTabSz="913911" rtl="0" eaLnBrk="1" latinLnBrk="0" hangingPunct="1">
        <a:spcBef>
          <a:spcPct val="20000"/>
        </a:spcBef>
        <a:buFont typeface="Arial" pitchFamily="34" charset="0"/>
        <a:buChar char="–"/>
        <a:defRPr sz="2798" kern="1200">
          <a:solidFill>
            <a:schemeClr val="tx1"/>
          </a:solidFill>
          <a:latin typeface="+mn-lt"/>
          <a:ea typeface="+mn-ea"/>
          <a:cs typeface="+mn-cs"/>
        </a:defRPr>
      </a:lvl2pPr>
      <a:lvl3pPr marL="1142389" indent="-228477" algn="l" defTabSz="913911" rtl="0" eaLnBrk="1" latinLnBrk="0" hangingPunct="1">
        <a:spcBef>
          <a:spcPct val="20000"/>
        </a:spcBef>
        <a:buFont typeface="Arial" pitchFamily="34" charset="0"/>
        <a:buChar char="•"/>
        <a:defRPr sz="2398" kern="1200">
          <a:solidFill>
            <a:schemeClr val="tx1"/>
          </a:solidFill>
          <a:latin typeface="+mn-lt"/>
          <a:ea typeface="+mn-ea"/>
          <a:cs typeface="+mn-cs"/>
        </a:defRPr>
      </a:lvl3pPr>
      <a:lvl4pPr marL="1599345" indent="-228477" algn="l" defTabSz="913911" rtl="0" eaLnBrk="1" latinLnBrk="0" hangingPunct="1">
        <a:spcBef>
          <a:spcPct val="20000"/>
        </a:spcBef>
        <a:buFont typeface="Arial" pitchFamily="34" charset="0"/>
        <a:buChar char="–"/>
        <a:defRPr sz="1998" kern="1200">
          <a:solidFill>
            <a:schemeClr val="tx1"/>
          </a:solidFill>
          <a:latin typeface="+mn-lt"/>
          <a:ea typeface="+mn-ea"/>
          <a:cs typeface="+mn-cs"/>
        </a:defRPr>
      </a:lvl4pPr>
      <a:lvl5pPr marL="2056300" indent="-228477" algn="l" defTabSz="913911" rtl="0" eaLnBrk="1" latinLnBrk="0" hangingPunct="1">
        <a:spcBef>
          <a:spcPct val="20000"/>
        </a:spcBef>
        <a:buFont typeface="Arial" pitchFamily="34" charset="0"/>
        <a:buChar char="»"/>
        <a:defRPr sz="1998" kern="1200">
          <a:solidFill>
            <a:schemeClr val="tx1"/>
          </a:solidFill>
          <a:latin typeface="+mn-lt"/>
          <a:ea typeface="+mn-ea"/>
          <a:cs typeface="+mn-cs"/>
        </a:defRPr>
      </a:lvl5pPr>
      <a:lvl6pPr marL="2513256" indent="-228477" algn="l" defTabSz="913911" rtl="0" eaLnBrk="1" latinLnBrk="0" hangingPunct="1">
        <a:spcBef>
          <a:spcPct val="20000"/>
        </a:spcBef>
        <a:buFont typeface="Arial" pitchFamily="34" charset="0"/>
        <a:buChar char="•"/>
        <a:defRPr sz="1998" kern="1200">
          <a:solidFill>
            <a:schemeClr val="tx1"/>
          </a:solidFill>
          <a:latin typeface="+mn-lt"/>
          <a:ea typeface="+mn-ea"/>
          <a:cs typeface="+mn-cs"/>
        </a:defRPr>
      </a:lvl6pPr>
      <a:lvl7pPr marL="2970210" indent="-228477" algn="l" defTabSz="913911" rtl="0" eaLnBrk="1" latinLnBrk="0" hangingPunct="1">
        <a:spcBef>
          <a:spcPct val="20000"/>
        </a:spcBef>
        <a:buFont typeface="Arial" pitchFamily="34" charset="0"/>
        <a:buChar char="•"/>
        <a:defRPr sz="1998" kern="1200">
          <a:solidFill>
            <a:schemeClr val="tx1"/>
          </a:solidFill>
          <a:latin typeface="+mn-lt"/>
          <a:ea typeface="+mn-ea"/>
          <a:cs typeface="+mn-cs"/>
        </a:defRPr>
      </a:lvl7pPr>
      <a:lvl8pPr marL="3427166" indent="-228477" algn="l" defTabSz="913911" rtl="0" eaLnBrk="1" latinLnBrk="0" hangingPunct="1">
        <a:spcBef>
          <a:spcPct val="20000"/>
        </a:spcBef>
        <a:buFont typeface="Arial" pitchFamily="34" charset="0"/>
        <a:buChar char="•"/>
        <a:defRPr sz="1998" kern="1200">
          <a:solidFill>
            <a:schemeClr val="tx1"/>
          </a:solidFill>
          <a:latin typeface="+mn-lt"/>
          <a:ea typeface="+mn-ea"/>
          <a:cs typeface="+mn-cs"/>
        </a:defRPr>
      </a:lvl8pPr>
      <a:lvl9pPr marL="3884122" indent="-228477" algn="l" defTabSz="913911" rtl="0" eaLnBrk="1" latinLnBrk="0" hangingPunct="1">
        <a:spcBef>
          <a:spcPct val="20000"/>
        </a:spcBef>
        <a:buFont typeface="Arial" pitchFamily="34" charset="0"/>
        <a:buChar char="•"/>
        <a:defRPr sz="199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3911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56" algn="l" defTabSz="913911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11" algn="l" defTabSz="913911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867" algn="l" defTabSz="913911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22" algn="l" defTabSz="913911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777" algn="l" defTabSz="913911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733" algn="l" defTabSz="913911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689" algn="l" defTabSz="913911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644" algn="l" defTabSz="913911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>
            <a:extLst>
              <a:ext uri="{FF2B5EF4-FFF2-40B4-BE49-F238E27FC236}">
                <a16:creationId xmlns:a16="http://schemas.microsoft.com/office/drawing/2014/main" xmlns="" id="{7E22C0DD-7EC0-CB13-19EE-F05783A24E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424" name="Diapositiva de think-cell" r:id="rId16" imgW="395" imgH="396" progId="TCLayout.ActiveDocument.1">
                  <p:embed/>
                </p:oleObj>
              </mc:Choice>
              <mc:Fallback>
                <p:oleObj name="Diapositiva de think-cell" r:id="rId16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9" name="Círculo">
            <a:extLst>
              <a:ext uri="{FF2B5EF4-FFF2-40B4-BE49-F238E27FC236}">
                <a16:creationId xmlns:a16="http://schemas.microsoft.com/office/drawing/2014/main" xmlns="" id="{67F123AF-3418-CD01-A636-AEBDFD32BE7D}"/>
              </a:ext>
            </a:extLst>
          </p:cNvPr>
          <p:cNvSpPr/>
          <p:nvPr userDrawn="1"/>
        </p:nvSpPr>
        <p:spPr>
          <a:xfrm>
            <a:off x="-1841967" y="384451"/>
            <a:ext cx="493603" cy="493239"/>
          </a:xfrm>
          <a:prstGeom prst="ellipse">
            <a:avLst/>
          </a:prstGeom>
          <a:solidFill>
            <a:srgbClr val="000000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0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0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0</a:t>
            </a:r>
          </a:p>
        </p:txBody>
      </p:sp>
      <p:sp>
        <p:nvSpPr>
          <p:cNvPr id="60" name="Círculo">
            <a:extLst>
              <a:ext uri="{FF2B5EF4-FFF2-40B4-BE49-F238E27FC236}">
                <a16:creationId xmlns:a16="http://schemas.microsoft.com/office/drawing/2014/main" xmlns="" id="{B379EE92-FC6D-694B-393C-5211BF945D3E}"/>
              </a:ext>
            </a:extLst>
          </p:cNvPr>
          <p:cNvSpPr/>
          <p:nvPr userDrawn="1"/>
        </p:nvSpPr>
        <p:spPr>
          <a:xfrm>
            <a:off x="-1232570" y="385202"/>
            <a:ext cx="491801" cy="491737"/>
          </a:xfrm>
          <a:prstGeom prst="ellipse">
            <a:avLst/>
          </a:prstGeom>
          <a:solidFill>
            <a:srgbClr val="EAEADE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000000"/>
                </a:solidFill>
                <a:ea typeface="Arial"/>
                <a:cs typeface="Arial"/>
                <a:sym typeface="Arial"/>
              </a:rPr>
              <a:t>R 234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000000"/>
                </a:solidFill>
                <a:ea typeface="Arial"/>
                <a:cs typeface="Arial"/>
                <a:sym typeface="Arial"/>
              </a:rPr>
              <a:t>G 234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000000"/>
                </a:solidFill>
                <a:ea typeface="Arial"/>
                <a:cs typeface="Arial"/>
                <a:sym typeface="Arial"/>
              </a:rPr>
              <a:t>B 222</a:t>
            </a:r>
            <a:endParaRPr sz="800" kern="0" dirty="0">
              <a:solidFill>
                <a:srgbClr val="000000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64" name="Círculo">
            <a:extLst>
              <a:ext uri="{FF2B5EF4-FFF2-40B4-BE49-F238E27FC236}">
                <a16:creationId xmlns:a16="http://schemas.microsoft.com/office/drawing/2014/main" xmlns="" id="{FE4169A0-295E-427F-5DB5-7BCBC8CF4469}"/>
              </a:ext>
            </a:extLst>
          </p:cNvPr>
          <p:cNvSpPr/>
          <p:nvPr userDrawn="1"/>
        </p:nvSpPr>
        <p:spPr>
          <a:xfrm>
            <a:off x="-621371" y="385202"/>
            <a:ext cx="491801" cy="491737"/>
          </a:xfrm>
          <a:prstGeom prst="ellipse">
            <a:avLst/>
          </a:prstGeom>
          <a:solidFill>
            <a:srgbClr val="7EFF45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126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255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69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" name="Círculo">
            <a:extLst>
              <a:ext uri="{FF2B5EF4-FFF2-40B4-BE49-F238E27FC236}">
                <a16:creationId xmlns:a16="http://schemas.microsoft.com/office/drawing/2014/main" xmlns="" id="{3F032DAC-D4C0-2FF5-3316-09E5B8694499}"/>
              </a:ext>
            </a:extLst>
          </p:cNvPr>
          <p:cNvSpPr/>
          <p:nvPr userDrawn="1"/>
        </p:nvSpPr>
        <p:spPr>
          <a:xfrm>
            <a:off x="-1843244" y="2925986"/>
            <a:ext cx="493603" cy="493239"/>
          </a:xfrm>
          <a:prstGeom prst="ellipse">
            <a:avLst/>
          </a:prstGeom>
          <a:solidFill>
            <a:srgbClr val="FC952E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252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49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46</a:t>
            </a:r>
          </a:p>
        </p:txBody>
      </p:sp>
      <p:sp>
        <p:nvSpPr>
          <p:cNvPr id="3" name="Rectángulo 2">
            <a:extLst>
              <a:ext uri="{FF2B5EF4-FFF2-40B4-BE49-F238E27FC236}">
                <a16:creationId xmlns:a16="http://schemas.microsoft.com/office/drawing/2014/main" xmlns="" id="{28DBAAE0-9E07-BDBA-B3A2-8F33E561BFB0}"/>
              </a:ext>
            </a:extLst>
          </p:cNvPr>
          <p:cNvSpPr/>
          <p:nvPr userDrawn="1"/>
        </p:nvSpPr>
        <p:spPr>
          <a:xfrm>
            <a:off x="-1893003" y="2669783"/>
            <a:ext cx="1872244" cy="2162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/>
            <a:r>
              <a:rPr lang="es-ES" sz="1000" kern="0" dirty="0">
                <a:solidFill>
                  <a:srgbClr val="000000"/>
                </a:solidFill>
                <a:ea typeface="Helvetica Neue Medium"/>
                <a:cs typeface="Helvetica Neue Medium"/>
                <a:sym typeface="Helvetica Neue Medium"/>
              </a:rPr>
              <a:t>Meta</a:t>
            </a:r>
            <a:endParaRPr lang="es-CL" sz="1000" kern="0" dirty="0">
              <a:solidFill>
                <a:srgbClr val="000000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4" name="Círculo">
            <a:extLst>
              <a:ext uri="{FF2B5EF4-FFF2-40B4-BE49-F238E27FC236}">
                <a16:creationId xmlns:a16="http://schemas.microsoft.com/office/drawing/2014/main" xmlns="" id="{1C53349F-C271-ACB3-FA20-F1F408AEE342}"/>
              </a:ext>
            </a:extLst>
          </p:cNvPr>
          <p:cNvSpPr/>
          <p:nvPr userDrawn="1"/>
        </p:nvSpPr>
        <p:spPr>
          <a:xfrm>
            <a:off x="-1841967" y="2925986"/>
            <a:ext cx="493603" cy="493239"/>
          </a:xfrm>
          <a:prstGeom prst="ellipse">
            <a:avLst/>
          </a:prstGeom>
          <a:solidFill>
            <a:srgbClr val="FC952E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252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49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46</a:t>
            </a:r>
          </a:p>
        </p:txBody>
      </p:sp>
      <p:sp>
        <p:nvSpPr>
          <p:cNvPr id="6" name="Círculo">
            <a:extLst>
              <a:ext uri="{FF2B5EF4-FFF2-40B4-BE49-F238E27FC236}">
                <a16:creationId xmlns:a16="http://schemas.microsoft.com/office/drawing/2014/main" xmlns="" id="{1E4CF4FB-7117-AC0E-BEC5-3F11BD83BF8F}"/>
              </a:ext>
            </a:extLst>
          </p:cNvPr>
          <p:cNvSpPr/>
          <p:nvPr userDrawn="1"/>
        </p:nvSpPr>
        <p:spPr>
          <a:xfrm>
            <a:off x="-1841967" y="3715363"/>
            <a:ext cx="493603" cy="493239"/>
          </a:xfrm>
          <a:prstGeom prst="ellipse">
            <a:avLst/>
          </a:prstGeom>
          <a:solidFill>
            <a:srgbClr val="969696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150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50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150</a:t>
            </a:r>
          </a:p>
        </p:txBody>
      </p:sp>
      <p:sp>
        <p:nvSpPr>
          <p:cNvPr id="8" name="Rectángulo 7">
            <a:extLst>
              <a:ext uri="{FF2B5EF4-FFF2-40B4-BE49-F238E27FC236}">
                <a16:creationId xmlns:a16="http://schemas.microsoft.com/office/drawing/2014/main" xmlns="" id="{DA2E5E78-709C-6BCD-6E11-58923CE21CDF}"/>
              </a:ext>
            </a:extLst>
          </p:cNvPr>
          <p:cNvSpPr/>
          <p:nvPr userDrawn="1"/>
        </p:nvSpPr>
        <p:spPr>
          <a:xfrm>
            <a:off x="-1893003" y="3459160"/>
            <a:ext cx="1872244" cy="2162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/>
            <a:r>
              <a:rPr lang="es-ES" sz="1000" kern="0" dirty="0">
                <a:solidFill>
                  <a:srgbClr val="000000"/>
                </a:solidFill>
                <a:ea typeface="Helvetica Neue Medium"/>
                <a:cs typeface="Helvetica Neue Medium"/>
                <a:sym typeface="Helvetica Neue Medium"/>
              </a:rPr>
              <a:t>Años anteriores</a:t>
            </a:r>
            <a:endParaRPr lang="es-CL" sz="1000" kern="0" dirty="0">
              <a:solidFill>
                <a:srgbClr val="000000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0" name="Rectángulo 9">
            <a:extLst>
              <a:ext uri="{FF2B5EF4-FFF2-40B4-BE49-F238E27FC236}">
                <a16:creationId xmlns:a16="http://schemas.microsoft.com/office/drawing/2014/main" xmlns="" id="{70F140E7-9772-A38F-279B-52E77D1C3CB8}"/>
              </a:ext>
            </a:extLst>
          </p:cNvPr>
          <p:cNvSpPr/>
          <p:nvPr userDrawn="1"/>
        </p:nvSpPr>
        <p:spPr>
          <a:xfrm>
            <a:off x="-1893003" y="4248537"/>
            <a:ext cx="1872244" cy="2162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/>
            <a:r>
              <a:rPr lang="es-ES" sz="1000" kern="0" dirty="0">
                <a:solidFill>
                  <a:srgbClr val="000000"/>
                </a:solidFill>
                <a:ea typeface="Helvetica Neue Medium"/>
                <a:cs typeface="Helvetica Neue Medium"/>
                <a:sym typeface="Helvetica Neue Medium"/>
              </a:rPr>
              <a:t>Años actual</a:t>
            </a:r>
            <a:endParaRPr lang="es-CL" sz="1000" kern="0" dirty="0">
              <a:solidFill>
                <a:srgbClr val="000000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1" name="Rectángulo 10">
            <a:extLst>
              <a:ext uri="{FF2B5EF4-FFF2-40B4-BE49-F238E27FC236}">
                <a16:creationId xmlns:a16="http://schemas.microsoft.com/office/drawing/2014/main" xmlns="" id="{BBE48E80-4061-E99A-55AC-E94154AD7987}"/>
              </a:ext>
            </a:extLst>
          </p:cNvPr>
          <p:cNvSpPr/>
          <p:nvPr userDrawn="1"/>
        </p:nvSpPr>
        <p:spPr>
          <a:xfrm>
            <a:off x="-1893003" y="5110737"/>
            <a:ext cx="1872244" cy="2162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/>
            <a:r>
              <a:rPr lang="es-ES" sz="1000" kern="0" dirty="0">
                <a:solidFill>
                  <a:srgbClr val="000000"/>
                </a:solidFill>
                <a:ea typeface="Helvetica Neue Medium"/>
                <a:cs typeface="Helvetica Neue Medium"/>
                <a:sym typeface="Helvetica Neue Medium"/>
              </a:rPr>
              <a:t>Unidades de medida</a:t>
            </a:r>
            <a:endParaRPr lang="es-CL" sz="1000" kern="0" dirty="0">
              <a:solidFill>
                <a:srgbClr val="000000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xmlns="" id="{FEB5DFF8-EDDD-DC5D-D0C3-113C1D35CEA3}"/>
              </a:ext>
            </a:extLst>
          </p:cNvPr>
          <p:cNvSpPr txBox="1"/>
          <p:nvPr userDrawn="1"/>
        </p:nvSpPr>
        <p:spPr>
          <a:xfrm>
            <a:off x="-1838970" y="5327004"/>
            <a:ext cx="1135683" cy="35198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914400"/>
            <a:r>
              <a:rPr lang="es-CL" sz="1100" dirty="0">
                <a:solidFill>
                  <a:srgbClr val="000000"/>
                </a:solidFill>
              </a:rPr>
              <a:t>XX MM$</a:t>
            </a:r>
          </a:p>
          <a:p>
            <a:pPr defTabSz="914400"/>
            <a:endParaRPr lang="es-CL" sz="1200" dirty="0" err="1">
              <a:solidFill>
                <a:srgbClr val="000000"/>
              </a:solidFill>
            </a:endParaRPr>
          </a:p>
        </p:txBody>
      </p:sp>
      <p:sp>
        <p:nvSpPr>
          <p:cNvPr id="13" name="Rectángulo 12">
            <a:extLst>
              <a:ext uri="{FF2B5EF4-FFF2-40B4-BE49-F238E27FC236}">
                <a16:creationId xmlns:a16="http://schemas.microsoft.com/office/drawing/2014/main" xmlns="" id="{E346D4BE-3DA6-0295-2565-114E949768C4}"/>
              </a:ext>
            </a:extLst>
          </p:cNvPr>
          <p:cNvSpPr/>
          <p:nvPr userDrawn="1"/>
        </p:nvSpPr>
        <p:spPr>
          <a:xfrm>
            <a:off x="-1893003" y="5619819"/>
            <a:ext cx="1872244" cy="2162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/>
            <a:r>
              <a:rPr lang="es-ES" sz="1000" kern="0" dirty="0">
                <a:solidFill>
                  <a:srgbClr val="000000"/>
                </a:solidFill>
                <a:ea typeface="Helvetica Neue Medium"/>
                <a:cs typeface="Helvetica Neue Medium"/>
                <a:sym typeface="Helvetica Neue Medium"/>
              </a:rPr>
              <a:t>¿Cómo escribir un pie de página?</a:t>
            </a:r>
            <a:endParaRPr lang="es-CL" sz="1000" kern="0" dirty="0">
              <a:solidFill>
                <a:srgbClr val="000000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8" name="Rectángulo 27">
            <a:extLst>
              <a:ext uri="{FF2B5EF4-FFF2-40B4-BE49-F238E27FC236}">
                <a16:creationId xmlns:a16="http://schemas.microsoft.com/office/drawing/2014/main" xmlns="" id="{7EE3EE48-AC04-0F4B-646B-D4C4CFFC37A7}"/>
              </a:ext>
            </a:extLst>
          </p:cNvPr>
          <p:cNvSpPr/>
          <p:nvPr userDrawn="1"/>
        </p:nvSpPr>
        <p:spPr>
          <a:xfrm>
            <a:off x="-1893003" y="129594"/>
            <a:ext cx="1620211" cy="2734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/>
            <a:r>
              <a:rPr lang="es-ES" sz="1000" kern="0" dirty="0">
                <a:solidFill>
                  <a:srgbClr val="000000"/>
                </a:solidFill>
                <a:ea typeface="Helvetica Neue Medium"/>
                <a:cs typeface="Helvetica Neue Medium"/>
                <a:sym typeface="Helvetica Neue Medium"/>
              </a:rPr>
              <a:t>Transversales </a:t>
            </a:r>
            <a:endParaRPr lang="es-CL" sz="1000" kern="0" dirty="0">
              <a:solidFill>
                <a:srgbClr val="000000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9" name="CuadroTexto 28">
            <a:extLst>
              <a:ext uri="{FF2B5EF4-FFF2-40B4-BE49-F238E27FC236}">
                <a16:creationId xmlns:a16="http://schemas.microsoft.com/office/drawing/2014/main" xmlns="" id="{1A8C27A4-2B0A-94C6-B229-A24DCE3B085B}"/>
              </a:ext>
            </a:extLst>
          </p:cNvPr>
          <p:cNvSpPr txBox="1"/>
          <p:nvPr userDrawn="1"/>
        </p:nvSpPr>
        <p:spPr>
          <a:xfrm>
            <a:off x="-1851901" y="5942963"/>
            <a:ext cx="1722330" cy="23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914400">
              <a:defRPr/>
            </a:pPr>
            <a:r>
              <a:rPr lang="es-CL" sz="1050" dirty="0">
                <a:solidFill>
                  <a:srgbClr val="000000"/>
                </a:solidFill>
              </a:rPr>
              <a:t>(1) Achs; (2) Achs; (3) Achs</a:t>
            </a:r>
          </a:p>
          <a:p>
            <a:pPr defTabSz="914400"/>
            <a:endParaRPr lang="es-CL" sz="1050" dirty="0">
              <a:solidFill>
                <a:srgbClr val="000000"/>
              </a:solidFill>
            </a:endParaRPr>
          </a:p>
        </p:txBody>
      </p:sp>
      <p:sp>
        <p:nvSpPr>
          <p:cNvPr id="27" name="Rectángulo 26">
            <a:extLst>
              <a:ext uri="{FF2B5EF4-FFF2-40B4-BE49-F238E27FC236}">
                <a16:creationId xmlns="" xmlns:a16="http://schemas.microsoft.com/office/drawing/2014/main" id="{5D700805-865F-F74D-A6EC-3717453F91CB}"/>
              </a:ext>
            </a:extLst>
          </p:cNvPr>
          <p:cNvSpPr/>
          <p:nvPr userDrawn="1"/>
        </p:nvSpPr>
        <p:spPr>
          <a:xfrm>
            <a:off x="-1893003" y="865746"/>
            <a:ext cx="1872244" cy="2734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/>
            <a:r>
              <a:rPr lang="es-ES" sz="1000" kern="0" dirty="0" err="1">
                <a:solidFill>
                  <a:srgbClr val="000000"/>
                </a:solidFill>
                <a:ea typeface="Helvetica Neue Medium"/>
                <a:cs typeface="Helvetica Neue Medium"/>
                <a:sym typeface="Helvetica Neue Medium"/>
              </a:rPr>
              <a:t>Masterbrand</a:t>
            </a:r>
            <a:r>
              <a:rPr lang="es-CL" sz="1000" kern="0" dirty="0">
                <a:solidFill>
                  <a:srgbClr val="000000"/>
                </a:solidFill>
                <a:ea typeface="Helvetica Neue Medium"/>
                <a:cs typeface="Helvetica Neue Medium"/>
                <a:sym typeface="Helvetica Neue Medium"/>
              </a:rPr>
              <a:t> y Laboral</a:t>
            </a:r>
            <a:endParaRPr lang="es-ES" sz="1000" kern="0" dirty="0">
              <a:solidFill>
                <a:srgbClr val="000000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3" name="Círculo">
            <a:extLst>
              <a:ext uri="{FF2B5EF4-FFF2-40B4-BE49-F238E27FC236}">
                <a16:creationId xmlns="" xmlns:a16="http://schemas.microsoft.com/office/drawing/2014/main" id="{6B0A7D2B-7729-3C9E-030D-F07D288B3C1C}"/>
              </a:ext>
            </a:extLst>
          </p:cNvPr>
          <p:cNvSpPr/>
          <p:nvPr userDrawn="1"/>
        </p:nvSpPr>
        <p:spPr>
          <a:xfrm>
            <a:off x="-1841968" y="1126062"/>
            <a:ext cx="493602" cy="493239"/>
          </a:xfrm>
          <a:prstGeom prst="ellipse">
            <a:avLst/>
          </a:prstGeom>
          <a:solidFill>
            <a:srgbClr val="13C045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19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92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69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34" name="Círculo">
            <a:extLst>
              <a:ext uri="{FF2B5EF4-FFF2-40B4-BE49-F238E27FC236}">
                <a16:creationId xmlns="" xmlns:a16="http://schemas.microsoft.com/office/drawing/2014/main" id="{88EF2449-2A49-499E-6F80-C48E8C65AE89}"/>
              </a:ext>
            </a:extLst>
          </p:cNvPr>
          <p:cNvSpPr/>
          <p:nvPr userDrawn="1"/>
        </p:nvSpPr>
        <p:spPr>
          <a:xfrm>
            <a:off x="-1232570" y="1126581"/>
            <a:ext cx="493603" cy="493239"/>
          </a:xfrm>
          <a:prstGeom prst="ellipse">
            <a:avLst/>
          </a:prstGeom>
          <a:solidFill>
            <a:srgbClr val="004C14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R 0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G 76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B 20</a:t>
            </a:r>
            <a:endParaRPr sz="800" kern="0" dirty="0">
              <a:solidFill>
                <a:srgbClr val="FFFFFF"/>
              </a:solidFill>
              <a:latin typeface="Helvetica Neue Medium"/>
              <a:ea typeface="Helvetica Neue Medium"/>
              <a:cs typeface="Arial" panose="020B0604020202020204" pitchFamily="34" charset="0"/>
              <a:sym typeface="Helvetica Neue Medium"/>
            </a:endParaRPr>
          </a:p>
        </p:txBody>
      </p:sp>
      <p:sp>
        <p:nvSpPr>
          <p:cNvPr id="40" name="Círculo">
            <a:extLst>
              <a:ext uri="{FF2B5EF4-FFF2-40B4-BE49-F238E27FC236}">
                <a16:creationId xmlns="" xmlns:a16="http://schemas.microsoft.com/office/drawing/2014/main" id="{41C49AC9-6BF7-E83C-A8F1-CD272DD365B6}"/>
              </a:ext>
            </a:extLst>
          </p:cNvPr>
          <p:cNvSpPr/>
          <p:nvPr userDrawn="1"/>
        </p:nvSpPr>
        <p:spPr>
          <a:xfrm>
            <a:off x="-1841968" y="1798861"/>
            <a:ext cx="493602" cy="493239"/>
          </a:xfrm>
          <a:prstGeom prst="ellipse">
            <a:avLst/>
          </a:prstGeom>
          <a:solidFill>
            <a:srgbClr val="81D877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129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216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119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42" name="Círculo">
            <a:extLst>
              <a:ext uri="{FF2B5EF4-FFF2-40B4-BE49-F238E27FC236}">
                <a16:creationId xmlns="" xmlns:a16="http://schemas.microsoft.com/office/drawing/2014/main" id="{93F27D3D-8F44-FD61-1DAD-F4236E27CBC9}"/>
              </a:ext>
            </a:extLst>
          </p:cNvPr>
          <p:cNvSpPr/>
          <p:nvPr userDrawn="1"/>
        </p:nvSpPr>
        <p:spPr>
          <a:xfrm>
            <a:off x="-1232570" y="1799379"/>
            <a:ext cx="493603" cy="493239"/>
          </a:xfrm>
          <a:prstGeom prst="ellipse">
            <a:avLst/>
          </a:prstGeom>
          <a:solidFill>
            <a:srgbClr val="27933E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R 39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G 147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B 62</a:t>
            </a:r>
            <a:endParaRPr sz="800" kern="0" dirty="0">
              <a:solidFill>
                <a:srgbClr val="FFFFFF"/>
              </a:solidFill>
              <a:latin typeface="Helvetica Neue Medium"/>
              <a:ea typeface="Helvetica Neue Medium"/>
              <a:cs typeface="Arial" panose="020B0604020202020204" pitchFamily="34" charset="0"/>
              <a:sym typeface="Helvetica Neue Medium"/>
            </a:endParaRPr>
          </a:p>
        </p:txBody>
      </p:sp>
      <p:sp>
        <p:nvSpPr>
          <p:cNvPr id="44" name="Círculo">
            <a:extLst>
              <a:ext uri="{FF2B5EF4-FFF2-40B4-BE49-F238E27FC236}">
                <a16:creationId xmlns="" xmlns:a16="http://schemas.microsoft.com/office/drawing/2014/main" id="{6B0A7D2B-7729-3C9E-030D-F07D288B3C1C}"/>
              </a:ext>
            </a:extLst>
          </p:cNvPr>
          <p:cNvSpPr/>
          <p:nvPr userDrawn="1"/>
        </p:nvSpPr>
        <p:spPr>
          <a:xfrm>
            <a:off x="-1841968" y="4509369"/>
            <a:ext cx="493602" cy="493239"/>
          </a:xfrm>
          <a:prstGeom prst="ellipse">
            <a:avLst/>
          </a:prstGeom>
          <a:solidFill>
            <a:srgbClr val="13C045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19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92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69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3" name="Rectángulo 22">
            <a:extLst>
              <a:ext uri="{FF2B5EF4-FFF2-40B4-BE49-F238E27FC236}">
                <a16:creationId xmlns="" xmlns:a16="http://schemas.microsoft.com/office/drawing/2014/main" id="{BE59B478-5DBC-324F-BC54-24A62693B07E}"/>
              </a:ext>
            </a:extLst>
          </p:cNvPr>
          <p:cNvSpPr/>
          <p:nvPr userDrawn="1"/>
        </p:nvSpPr>
        <p:spPr>
          <a:xfrm>
            <a:off x="-1893003" y="1630562"/>
            <a:ext cx="1872244" cy="16773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/>
            <a:r>
              <a:rPr lang="es-ES" sz="1000" kern="0" dirty="0" smtClean="0">
                <a:solidFill>
                  <a:srgbClr val="000000"/>
                </a:solidFill>
                <a:ea typeface="Helvetica Neue Medium"/>
                <a:cs typeface="Helvetica Neue Medium"/>
                <a:sym typeface="Helvetica Neue Medium"/>
              </a:rPr>
              <a:t>Complementarios</a:t>
            </a:r>
            <a:endParaRPr lang="es-CL" sz="1000" kern="0" dirty="0">
              <a:solidFill>
                <a:srgbClr val="000000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7900454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8" r:id="rId1"/>
    <p:sldLayoutId id="2147484039" r:id="rId2"/>
    <p:sldLayoutId id="2147484040" r:id="rId3"/>
    <p:sldLayoutId id="2147484041" r:id="rId4"/>
    <p:sldLayoutId id="2147484042" r:id="rId5"/>
    <p:sldLayoutId id="2147484043" r:id="rId6"/>
    <p:sldLayoutId id="2147484044" r:id="rId7"/>
    <p:sldLayoutId id="2147484045" r:id="rId8"/>
    <p:sldLayoutId id="2147484046" r:id="rId9"/>
    <p:sldLayoutId id="2147484047" r:id="rId10"/>
    <p:sldLayoutId id="2147484048" r:id="rId11"/>
    <p:sldLayoutId id="2147484049" r:id="rId12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0" lang="es-ES" sz="2000" b="0" i="0" u="none" strike="noStrike" kern="1200" cap="none" spc="0" normalizeH="0" baseline="0" dirty="0" smtClean="0">
          <a:ln>
            <a:noFill/>
          </a:ln>
          <a:solidFill>
            <a:srgbClr val="15BF45"/>
          </a:solidFill>
          <a:effectLst/>
          <a:uLnTx/>
          <a:uFillTx/>
          <a:latin typeface="Arial" panose="020B0604020202020204" pitchFamily="34" charset="0"/>
          <a:ea typeface="+mn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-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-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-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-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81">
          <p15:clr>
            <a:srgbClr val="F26B43"/>
          </p15:clr>
        </p15:guide>
        <p15:guide id="2" pos="279">
          <p15:clr>
            <a:srgbClr val="F26B43"/>
          </p15:clr>
        </p15:guide>
        <p15:guide id="3" pos="7423">
          <p15:clr>
            <a:srgbClr val="F26B43"/>
          </p15:clr>
        </p15:guide>
        <p15:guide id="4" orient="horz" pos="3884">
          <p15:clr>
            <a:srgbClr val="F26B43"/>
          </p15:clr>
        </p15:guide>
        <p15:guide id="5" orient="horz" pos="232">
          <p15:clr>
            <a:srgbClr val="F26B43"/>
          </p15:clr>
        </p15:guide>
        <p15:guide id="6" orient="horz" pos="323">
          <p15:clr>
            <a:srgbClr val="F26B43"/>
          </p15:clr>
        </p15:guide>
        <p15:guide id="7" orient="horz" pos="4065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>
            <a:extLst>
              <a:ext uri="{FF2B5EF4-FFF2-40B4-BE49-F238E27FC236}">
                <a16:creationId xmlns:a16="http://schemas.microsoft.com/office/drawing/2014/main" xmlns="" id="{7E22C0DD-7EC0-CB13-19EE-F05783A24E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687" name="Diapositiva de think-cell" r:id="rId16" imgW="395" imgH="396" progId="TCLayout.ActiveDocument.1">
                  <p:embed/>
                </p:oleObj>
              </mc:Choice>
              <mc:Fallback>
                <p:oleObj name="Diapositiva de think-cell" r:id="rId16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9" name="Círculo">
            <a:extLst>
              <a:ext uri="{FF2B5EF4-FFF2-40B4-BE49-F238E27FC236}">
                <a16:creationId xmlns:a16="http://schemas.microsoft.com/office/drawing/2014/main" xmlns="" id="{67F123AF-3418-CD01-A636-AEBDFD32BE7D}"/>
              </a:ext>
            </a:extLst>
          </p:cNvPr>
          <p:cNvSpPr/>
          <p:nvPr userDrawn="1"/>
        </p:nvSpPr>
        <p:spPr>
          <a:xfrm>
            <a:off x="-1841967" y="384451"/>
            <a:ext cx="493603" cy="493239"/>
          </a:xfrm>
          <a:prstGeom prst="ellipse">
            <a:avLst/>
          </a:prstGeom>
          <a:solidFill>
            <a:srgbClr val="000000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0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0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0</a:t>
            </a:r>
          </a:p>
        </p:txBody>
      </p:sp>
      <p:sp>
        <p:nvSpPr>
          <p:cNvPr id="60" name="Círculo">
            <a:extLst>
              <a:ext uri="{FF2B5EF4-FFF2-40B4-BE49-F238E27FC236}">
                <a16:creationId xmlns:a16="http://schemas.microsoft.com/office/drawing/2014/main" xmlns="" id="{B379EE92-FC6D-694B-393C-5211BF945D3E}"/>
              </a:ext>
            </a:extLst>
          </p:cNvPr>
          <p:cNvSpPr/>
          <p:nvPr userDrawn="1"/>
        </p:nvSpPr>
        <p:spPr>
          <a:xfrm>
            <a:off x="-1232570" y="385202"/>
            <a:ext cx="491801" cy="491737"/>
          </a:xfrm>
          <a:prstGeom prst="ellipse">
            <a:avLst/>
          </a:prstGeom>
          <a:solidFill>
            <a:srgbClr val="EAEADE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000000"/>
                </a:solidFill>
                <a:ea typeface="Arial"/>
                <a:cs typeface="Arial"/>
                <a:sym typeface="Arial"/>
              </a:rPr>
              <a:t>R 234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000000"/>
                </a:solidFill>
                <a:ea typeface="Arial"/>
                <a:cs typeface="Arial"/>
                <a:sym typeface="Arial"/>
              </a:rPr>
              <a:t>G 234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000000"/>
                </a:solidFill>
                <a:ea typeface="Arial"/>
                <a:cs typeface="Arial"/>
                <a:sym typeface="Arial"/>
              </a:rPr>
              <a:t>B 222</a:t>
            </a:r>
            <a:endParaRPr sz="800" kern="0" dirty="0">
              <a:solidFill>
                <a:srgbClr val="000000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64" name="Círculo">
            <a:extLst>
              <a:ext uri="{FF2B5EF4-FFF2-40B4-BE49-F238E27FC236}">
                <a16:creationId xmlns:a16="http://schemas.microsoft.com/office/drawing/2014/main" xmlns="" id="{FE4169A0-295E-427F-5DB5-7BCBC8CF4469}"/>
              </a:ext>
            </a:extLst>
          </p:cNvPr>
          <p:cNvSpPr/>
          <p:nvPr userDrawn="1"/>
        </p:nvSpPr>
        <p:spPr>
          <a:xfrm>
            <a:off x="-621371" y="385202"/>
            <a:ext cx="491801" cy="491737"/>
          </a:xfrm>
          <a:prstGeom prst="ellipse">
            <a:avLst/>
          </a:prstGeom>
          <a:solidFill>
            <a:srgbClr val="7EFF45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126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255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69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" name="Círculo">
            <a:extLst>
              <a:ext uri="{FF2B5EF4-FFF2-40B4-BE49-F238E27FC236}">
                <a16:creationId xmlns:a16="http://schemas.microsoft.com/office/drawing/2014/main" xmlns="" id="{3F032DAC-D4C0-2FF5-3316-09E5B8694499}"/>
              </a:ext>
            </a:extLst>
          </p:cNvPr>
          <p:cNvSpPr/>
          <p:nvPr userDrawn="1"/>
        </p:nvSpPr>
        <p:spPr>
          <a:xfrm>
            <a:off x="-1843244" y="2925986"/>
            <a:ext cx="493603" cy="493239"/>
          </a:xfrm>
          <a:prstGeom prst="ellipse">
            <a:avLst/>
          </a:prstGeom>
          <a:solidFill>
            <a:srgbClr val="FC952E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252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49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46</a:t>
            </a:r>
          </a:p>
        </p:txBody>
      </p:sp>
      <p:sp>
        <p:nvSpPr>
          <p:cNvPr id="3" name="Rectángulo 2">
            <a:extLst>
              <a:ext uri="{FF2B5EF4-FFF2-40B4-BE49-F238E27FC236}">
                <a16:creationId xmlns:a16="http://schemas.microsoft.com/office/drawing/2014/main" xmlns="" id="{28DBAAE0-9E07-BDBA-B3A2-8F33E561BFB0}"/>
              </a:ext>
            </a:extLst>
          </p:cNvPr>
          <p:cNvSpPr/>
          <p:nvPr userDrawn="1"/>
        </p:nvSpPr>
        <p:spPr>
          <a:xfrm>
            <a:off x="-1893003" y="2669783"/>
            <a:ext cx="1872244" cy="2162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/>
            <a:r>
              <a:rPr lang="es-ES" sz="1000" kern="0" dirty="0">
                <a:solidFill>
                  <a:srgbClr val="000000"/>
                </a:solidFill>
                <a:ea typeface="Helvetica Neue Medium"/>
                <a:cs typeface="Helvetica Neue Medium"/>
                <a:sym typeface="Helvetica Neue Medium"/>
              </a:rPr>
              <a:t>Meta</a:t>
            </a:r>
            <a:endParaRPr lang="es-CL" sz="1000" kern="0" dirty="0">
              <a:solidFill>
                <a:srgbClr val="000000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4" name="Círculo">
            <a:extLst>
              <a:ext uri="{FF2B5EF4-FFF2-40B4-BE49-F238E27FC236}">
                <a16:creationId xmlns:a16="http://schemas.microsoft.com/office/drawing/2014/main" xmlns="" id="{1C53349F-C271-ACB3-FA20-F1F408AEE342}"/>
              </a:ext>
            </a:extLst>
          </p:cNvPr>
          <p:cNvSpPr/>
          <p:nvPr userDrawn="1"/>
        </p:nvSpPr>
        <p:spPr>
          <a:xfrm>
            <a:off x="-1841967" y="2925986"/>
            <a:ext cx="493603" cy="493239"/>
          </a:xfrm>
          <a:prstGeom prst="ellipse">
            <a:avLst/>
          </a:prstGeom>
          <a:solidFill>
            <a:srgbClr val="FC952E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252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49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46</a:t>
            </a:r>
          </a:p>
        </p:txBody>
      </p:sp>
      <p:sp>
        <p:nvSpPr>
          <p:cNvPr id="6" name="Círculo">
            <a:extLst>
              <a:ext uri="{FF2B5EF4-FFF2-40B4-BE49-F238E27FC236}">
                <a16:creationId xmlns:a16="http://schemas.microsoft.com/office/drawing/2014/main" xmlns="" id="{1E4CF4FB-7117-AC0E-BEC5-3F11BD83BF8F}"/>
              </a:ext>
            </a:extLst>
          </p:cNvPr>
          <p:cNvSpPr/>
          <p:nvPr userDrawn="1"/>
        </p:nvSpPr>
        <p:spPr>
          <a:xfrm>
            <a:off x="-1841967" y="3715363"/>
            <a:ext cx="493603" cy="493239"/>
          </a:xfrm>
          <a:prstGeom prst="ellipse">
            <a:avLst/>
          </a:prstGeom>
          <a:solidFill>
            <a:srgbClr val="969696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150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50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150</a:t>
            </a:r>
          </a:p>
        </p:txBody>
      </p:sp>
      <p:sp>
        <p:nvSpPr>
          <p:cNvPr id="8" name="Rectángulo 7">
            <a:extLst>
              <a:ext uri="{FF2B5EF4-FFF2-40B4-BE49-F238E27FC236}">
                <a16:creationId xmlns:a16="http://schemas.microsoft.com/office/drawing/2014/main" xmlns="" id="{DA2E5E78-709C-6BCD-6E11-58923CE21CDF}"/>
              </a:ext>
            </a:extLst>
          </p:cNvPr>
          <p:cNvSpPr/>
          <p:nvPr userDrawn="1"/>
        </p:nvSpPr>
        <p:spPr>
          <a:xfrm>
            <a:off x="-1893003" y="3459160"/>
            <a:ext cx="1872244" cy="2162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/>
            <a:r>
              <a:rPr lang="es-ES" sz="1000" kern="0" dirty="0">
                <a:solidFill>
                  <a:srgbClr val="000000"/>
                </a:solidFill>
                <a:ea typeface="Helvetica Neue Medium"/>
                <a:cs typeface="Helvetica Neue Medium"/>
                <a:sym typeface="Helvetica Neue Medium"/>
              </a:rPr>
              <a:t>Años anteriores</a:t>
            </a:r>
            <a:endParaRPr lang="es-CL" sz="1000" kern="0" dirty="0">
              <a:solidFill>
                <a:srgbClr val="000000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0" name="Rectángulo 9">
            <a:extLst>
              <a:ext uri="{FF2B5EF4-FFF2-40B4-BE49-F238E27FC236}">
                <a16:creationId xmlns:a16="http://schemas.microsoft.com/office/drawing/2014/main" xmlns="" id="{70F140E7-9772-A38F-279B-52E77D1C3CB8}"/>
              </a:ext>
            </a:extLst>
          </p:cNvPr>
          <p:cNvSpPr/>
          <p:nvPr userDrawn="1"/>
        </p:nvSpPr>
        <p:spPr>
          <a:xfrm>
            <a:off x="-1893003" y="4248537"/>
            <a:ext cx="1872244" cy="2162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/>
            <a:r>
              <a:rPr lang="es-ES" sz="1000" kern="0" dirty="0">
                <a:solidFill>
                  <a:srgbClr val="000000"/>
                </a:solidFill>
                <a:ea typeface="Helvetica Neue Medium"/>
                <a:cs typeface="Helvetica Neue Medium"/>
                <a:sym typeface="Helvetica Neue Medium"/>
              </a:rPr>
              <a:t>Años actual</a:t>
            </a:r>
            <a:endParaRPr lang="es-CL" sz="1000" kern="0" dirty="0">
              <a:solidFill>
                <a:srgbClr val="000000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1" name="Rectángulo 10">
            <a:extLst>
              <a:ext uri="{FF2B5EF4-FFF2-40B4-BE49-F238E27FC236}">
                <a16:creationId xmlns:a16="http://schemas.microsoft.com/office/drawing/2014/main" xmlns="" id="{BBE48E80-4061-E99A-55AC-E94154AD7987}"/>
              </a:ext>
            </a:extLst>
          </p:cNvPr>
          <p:cNvSpPr/>
          <p:nvPr userDrawn="1"/>
        </p:nvSpPr>
        <p:spPr>
          <a:xfrm>
            <a:off x="-1893003" y="5110737"/>
            <a:ext cx="1872244" cy="2162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/>
            <a:r>
              <a:rPr lang="es-ES" sz="1000" kern="0" dirty="0">
                <a:solidFill>
                  <a:srgbClr val="000000"/>
                </a:solidFill>
                <a:ea typeface="Helvetica Neue Medium"/>
                <a:cs typeface="Helvetica Neue Medium"/>
                <a:sym typeface="Helvetica Neue Medium"/>
              </a:rPr>
              <a:t>Unidades de medida</a:t>
            </a:r>
            <a:endParaRPr lang="es-CL" sz="1000" kern="0" dirty="0">
              <a:solidFill>
                <a:srgbClr val="000000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xmlns="" id="{FEB5DFF8-EDDD-DC5D-D0C3-113C1D35CEA3}"/>
              </a:ext>
            </a:extLst>
          </p:cNvPr>
          <p:cNvSpPr txBox="1"/>
          <p:nvPr userDrawn="1"/>
        </p:nvSpPr>
        <p:spPr>
          <a:xfrm>
            <a:off x="-1838970" y="5327004"/>
            <a:ext cx="1135683" cy="35198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914400"/>
            <a:r>
              <a:rPr lang="es-CL" sz="1100" dirty="0">
                <a:solidFill>
                  <a:srgbClr val="000000"/>
                </a:solidFill>
              </a:rPr>
              <a:t>XX MM$</a:t>
            </a:r>
          </a:p>
          <a:p>
            <a:pPr defTabSz="914400"/>
            <a:endParaRPr lang="es-CL" sz="1200" dirty="0" err="1">
              <a:solidFill>
                <a:srgbClr val="000000"/>
              </a:solidFill>
            </a:endParaRPr>
          </a:p>
        </p:txBody>
      </p:sp>
      <p:sp>
        <p:nvSpPr>
          <p:cNvPr id="13" name="Rectángulo 12">
            <a:extLst>
              <a:ext uri="{FF2B5EF4-FFF2-40B4-BE49-F238E27FC236}">
                <a16:creationId xmlns:a16="http://schemas.microsoft.com/office/drawing/2014/main" xmlns="" id="{E346D4BE-3DA6-0295-2565-114E949768C4}"/>
              </a:ext>
            </a:extLst>
          </p:cNvPr>
          <p:cNvSpPr/>
          <p:nvPr userDrawn="1"/>
        </p:nvSpPr>
        <p:spPr>
          <a:xfrm>
            <a:off x="-1893003" y="5619819"/>
            <a:ext cx="1872244" cy="2162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/>
            <a:r>
              <a:rPr lang="es-ES" sz="1000" kern="0" dirty="0">
                <a:solidFill>
                  <a:srgbClr val="000000"/>
                </a:solidFill>
                <a:ea typeface="Helvetica Neue Medium"/>
                <a:cs typeface="Helvetica Neue Medium"/>
                <a:sym typeface="Helvetica Neue Medium"/>
              </a:rPr>
              <a:t>¿Cómo escribir un pie de página?</a:t>
            </a:r>
            <a:endParaRPr lang="es-CL" sz="1000" kern="0" dirty="0">
              <a:solidFill>
                <a:srgbClr val="000000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8" name="Rectángulo 27">
            <a:extLst>
              <a:ext uri="{FF2B5EF4-FFF2-40B4-BE49-F238E27FC236}">
                <a16:creationId xmlns:a16="http://schemas.microsoft.com/office/drawing/2014/main" xmlns="" id="{7EE3EE48-AC04-0F4B-646B-D4C4CFFC37A7}"/>
              </a:ext>
            </a:extLst>
          </p:cNvPr>
          <p:cNvSpPr/>
          <p:nvPr userDrawn="1"/>
        </p:nvSpPr>
        <p:spPr>
          <a:xfrm>
            <a:off x="-1893003" y="129594"/>
            <a:ext cx="1620211" cy="2734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/>
            <a:r>
              <a:rPr lang="es-ES" sz="1000" kern="0" dirty="0">
                <a:solidFill>
                  <a:srgbClr val="000000"/>
                </a:solidFill>
                <a:ea typeface="Helvetica Neue Medium"/>
                <a:cs typeface="Helvetica Neue Medium"/>
                <a:sym typeface="Helvetica Neue Medium"/>
              </a:rPr>
              <a:t>Transversales </a:t>
            </a:r>
            <a:endParaRPr lang="es-CL" sz="1000" kern="0" dirty="0">
              <a:solidFill>
                <a:srgbClr val="000000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9" name="CuadroTexto 28">
            <a:extLst>
              <a:ext uri="{FF2B5EF4-FFF2-40B4-BE49-F238E27FC236}">
                <a16:creationId xmlns:a16="http://schemas.microsoft.com/office/drawing/2014/main" xmlns="" id="{1A8C27A4-2B0A-94C6-B229-A24DCE3B085B}"/>
              </a:ext>
            </a:extLst>
          </p:cNvPr>
          <p:cNvSpPr txBox="1"/>
          <p:nvPr userDrawn="1"/>
        </p:nvSpPr>
        <p:spPr>
          <a:xfrm>
            <a:off x="-1851901" y="5942963"/>
            <a:ext cx="1722330" cy="23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914400">
              <a:defRPr/>
            </a:pPr>
            <a:r>
              <a:rPr lang="es-CL" sz="1050" dirty="0">
                <a:solidFill>
                  <a:srgbClr val="000000"/>
                </a:solidFill>
              </a:rPr>
              <a:t>(1) Achs; (2) Achs; (3) Achs</a:t>
            </a:r>
          </a:p>
          <a:p>
            <a:pPr defTabSz="914400"/>
            <a:endParaRPr lang="es-CL" sz="1050" dirty="0">
              <a:solidFill>
                <a:srgbClr val="000000"/>
              </a:solidFill>
            </a:endParaRPr>
          </a:p>
        </p:txBody>
      </p:sp>
      <p:sp>
        <p:nvSpPr>
          <p:cNvPr id="27" name="Rectángulo 26">
            <a:extLst>
              <a:ext uri="{FF2B5EF4-FFF2-40B4-BE49-F238E27FC236}">
                <a16:creationId xmlns="" xmlns:a16="http://schemas.microsoft.com/office/drawing/2014/main" id="{5D700805-865F-F74D-A6EC-3717453F91CB}"/>
              </a:ext>
            </a:extLst>
          </p:cNvPr>
          <p:cNvSpPr/>
          <p:nvPr userDrawn="1"/>
        </p:nvSpPr>
        <p:spPr>
          <a:xfrm>
            <a:off x="-1893003" y="865746"/>
            <a:ext cx="1872244" cy="2734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/>
            <a:r>
              <a:rPr lang="es-ES" sz="1000" kern="0" dirty="0" err="1">
                <a:solidFill>
                  <a:srgbClr val="000000"/>
                </a:solidFill>
                <a:ea typeface="Helvetica Neue Medium"/>
                <a:cs typeface="Helvetica Neue Medium"/>
                <a:sym typeface="Helvetica Neue Medium"/>
              </a:rPr>
              <a:t>Masterbrand</a:t>
            </a:r>
            <a:r>
              <a:rPr lang="es-CL" sz="1000" kern="0" dirty="0">
                <a:solidFill>
                  <a:srgbClr val="000000"/>
                </a:solidFill>
                <a:ea typeface="Helvetica Neue Medium"/>
                <a:cs typeface="Helvetica Neue Medium"/>
                <a:sym typeface="Helvetica Neue Medium"/>
              </a:rPr>
              <a:t> y Laboral</a:t>
            </a:r>
            <a:endParaRPr lang="es-ES" sz="1000" kern="0" dirty="0">
              <a:solidFill>
                <a:srgbClr val="000000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3" name="Círculo">
            <a:extLst>
              <a:ext uri="{FF2B5EF4-FFF2-40B4-BE49-F238E27FC236}">
                <a16:creationId xmlns="" xmlns:a16="http://schemas.microsoft.com/office/drawing/2014/main" id="{6B0A7D2B-7729-3C9E-030D-F07D288B3C1C}"/>
              </a:ext>
            </a:extLst>
          </p:cNvPr>
          <p:cNvSpPr/>
          <p:nvPr userDrawn="1"/>
        </p:nvSpPr>
        <p:spPr>
          <a:xfrm>
            <a:off x="-1841968" y="1126062"/>
            <a:ext cx="493602" cy="493239"/>
          </a:xfrm>
          <a:prstGeom prst="ellipse">
            <a:avLst/>
          </a:prstGeom>
          <a:solidFill>
            <a:srgbClr val="13C045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19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92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69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34" name="Círculo">
            <a:extLst>
              <a:ext uri="{FF2B5EF4-FFF2-40B4-BE49-F238E27FC236}">
                <a16:creationId xmlns="" xmlns:a16="http://schemas.microsoft.com/office/drawing/2014/main" id="{88EF2449-2A49-499E-6F80-C48E8C65AE89}"/>
              </a:ext>
            </a:extLst>
          </p:cNvPr>
          <p:cNvSpPr/>
          <p:nvPr userDrawn="1"/>
        </p:nvSpPr>
        <p:spPr>
          <a:xfrm>
            <a:off x="-1232570" y="1126581"/>
            <a:ext cx="493603" cy="493239"/>
          </a:xfrm>
          <a:prstGeom prst="ellipse">
            <a:avLst/>
          </a:prstGeom>
          <a:solidFill>
            <a:srgbClr val="004C14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R 0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G 76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B 20</a:t>
            </a:r>
            <a:endParaRPr sz="800" kern="0" dirty="0">
              <a:solidFill>
                <a:srgbClr val="FFFFFF"/>
              </a:solidFill>
              <a:latin typeface="Helvetica Neue Medium"/>
              <a:ea typeface="Helvetica Neue Medium"/>
              <a:cs typeface="Arial" panose="020B0604020202020204" pitchFamily="34" charset="0"/>
              <a:sym typeface="Helvetica Neue Medium"/>
            </a:endParaRPr>
          </a:p>
        </p:txBody>
      </p:sp>
      <p:sp>
        <p:nvSpPr>
          <p:cNvPr id="40" name="Círculo">
            <a:extLst>
              <a:ext uri="{FF2B5EF4-FFF2-40B4-BE49-F238E27FC236}">
                <a16:creationId xmlns="" xmlns:a16="http://schemas.microsoft.com/office/drawing/2014/main" id="{41C49AC9-6BF7-E83C-A8F1-CD272DD365B6}"/>
              </a:ext>
            </a:extLst>
          </p:cNvPr>
          <p:cNvSpPr/>
          <p:nvPr userDrawn="1"/>
        </p:nvSpPr>
        <p:spPr>
          <a:xfrm>
            <a:off x="-1841968" y="1798861"/>
            <a:ext cx="493602" cy="493239"/>
          </a:xfrm>
          <a:prstGeom prst="ellipse">
            <a:avLst/>
          </a:prstGeom>
          <a:solidFill>
            <a:srgbClr val="81D877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129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216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119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42" name="Círculo">
            <a:extLst>
              <a:ext uri="{FF2B5EF4-FFF2-40B4-BE49-F238E27FC236}">
                <a16:creationId xmlns="" xmlns:a16="http://schemas.microsoft.com/office/drawing/2014/main" id="{93F27D3D-8F44-FD61-1DAD-F4236E27CBC9}"/>
              </a:ext>
            </a:extLst>
          </p:cNvPr>
          <p:cNvSpPr/>
          <p:nvPr userDrawn="1"/>
        </p:nvSpPr>
        <p:spPr>
          <a:xfrm>
            <a:off x="-1232570" y="1799379"/>
            <a:ext cx="493603" cy="493239"/>
          </a:xfrm>
          <a:prstGeom prst="ellipse">
            <a:avLst/>
          </a:prstGeom>
          <a:solidFill>
            <a:srgbClr val="27933E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R 39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G 147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B 62</a:t>
            </a:r>
            <a:endParaRPr sz="800" kern="0" dirty="0">
              <a:solidFill>
                <a:srgbClr val="FFFFFF"/>
              </a:solidFill>
              <a:latin typeface="Helvetica Neue Medium"/>
              <a:ea typeface="Helvetica Neue Medium"/>
              <a:cs typeface="Arial" panose="020B0604020202020204" pitchFamily="34" charset="0"/>
              <a:sym typeface="Helvetica Neue Medium"/>
            </a:endParaRPr>
          </a:p>
        </p:txBody>
      </p:sp>
      <p:sp>
        <p:nvSpPr>
          <p:cNvPr id="44" name="Círculo">
            <a:extLst>
              <a:ext uri="{FF2B5EF4-FFF2-40B4-BE49-F238E27FC236}">
                <a16:creationId xmlns="" xmlns:a16="http://schemas.microsoft.com/office/drawing/2014/main" id="{6B0A7D2B-7729-3C9E-030D-F07D288B3C1C}"/>
              </a:ext>
            </a:extLst>
          </p:cNvPr>
          <p:cNvSpPr/>
          <p:nvPr userDrawn="1"/>
        </p:nvSpPr>
        <p:spPr>
          <a:xfrm>
            <a:off x="-1841968" y="4509369"/>
            <a:ext cx="493602" cy="493239"/>
          </a:xfrm>
          <a:prstGeom prst="ellipse">
            <a:avLst/>
          </a:prstGeom>
          <a:solidFill>
            <a:srgbClr val="13C045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19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92</a:t>
            </a:r>
          </a:p>
          <a:p>
            <a:pPr defTabSz="412750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69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3" name="Rectángulo 22">
            <a:extLst>
              <a:ext uri="{FF2B5EF4-FFF2-40B4-BE49-F238E27FC236}">
                <a16:creationId xmlns="" xmlns:a16="http://schemas.microsoft.com/office/drawing/2014/main" id="{BE59B478-5DBC-324F-BC54-24A62693B07E}"/>
              </a:ext>
            </a:extLst>
          </p:cNvPr>
          <p:cNvSpPr/>
          <p:nvPr userDrawn="1"/>
        </p:nvSpPr>
        <p:spPr>
          <a:xfrm>
            <a:off x="-1893003" y="1630562"/>
            <a:ext cx="1872244" cy="16773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/>
            <a:r>
              <a:rPr lang="es-ES" sz="1000" kern="0" dirty="0" smtClean="0">
                <a:solidFill>
                  <a:srgbClr val="000000"/>
                </a:solidFill>
                <a:ea typeface="Helvetica Neue Medium"/>
                <a:cs typeface="Helvetica Neue Medium"/>
                <a:sym typeface="Helvetica Neue Medium"/>
              </a:rPr>
              <a:t>Complementarios</a:t>
            </a:r>
            <a:endParaRPr lang="es-CL" sz="1000" kern="0" dirty="0">
              <a:solidFill>
                <a:srgbClr val="000000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39769892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1" r:id="rId1"/>
    <p:sldLayoutId id="2147484052" r:id="rId2"/>
    <p:sldLayoutId id="2147484053" r:id="rId3"/>
    <p:sldLayoutId id="2147484054" r:id="rId4"/>
    <p:sldLayoutId id="2147484055" r:id="rId5"/>
    <p:sldLayoutId id="2147484056" r:id="rId6"/>
    <p:sldLayoutId id="2147484057" r:id="rId7"/>
    <p:sldLayoutId id="2147484058" r:id="rId8"/>
    <p:sldLayoutId id="2147484059" r:id="rId9"/>
    <p:sldLayoutId id="2147484060" r:id="rId10"/>
    <p:sldLayoutId id="2147484061" r:id="rId11"/>
    <p:sldLayoutId id="2147484062" r:id="rId12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0" lang="es-ES" sz="2000" b="0" i="0" u="none" strike="noStrike" kern="1200" cap="none" spc="0" normalizeH="0" baseline="0" dirty="0" smtClean="0">
          <a:ln>
            <a:noFill/>
          </a:ln>
          <a:solidFill>
            <a:srgbClr val="15BF45"/>
          </a:solidFill>
          <a:effectLst/>
          <a:uLnTx/>
          <a:uFillTx/>
          <a:latin typeface="Arial" panose="020B0604020202020204" pitchFamily="34" charset="0"/>
          <a:ea typeface="+mn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-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-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-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-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81">
          <p15:clr>
            <a:srgbClr val="F26B43"/>
          </p15:clr>
        </p15:guide>
        <p15:guide id="2" pos="279">
          <p15:clr>
            <a:srgbClr val="F26B43"/>
          </p15:clr>
        </p15:guide>
        <p15:guide id="3" pos="7423">
          <p15:clr>
            <a:srgbClr val="F26B43"/>
          </p15:clr>
        </p15:guide>
        <p15:guide id="4" orient="horz" pos="3884">
          <p15:clr>
            <a:srgbClr val="F26B43"/>
          </p15:clr>
        </p15:guide>
        <p15:guide id="5" orient="horz" pos="232">
          <p15:clr>
            <a:srgbClr val="F26B43"/>
          </p15:clr>
        </p15:guide>
        <p15:guide id="6" orient="horz" pos="323">
          <p15:clr>
            <a:srgbClr val="F26B43"/>
          </p15:clr>
        </p15:guide>
        <p15:guide id="7" orient="horz" pos="4065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:a16="http://schemas.microsoft.com/office/drawing/2014/main" xmlns="" id="{7EAE2FC3-E8D4-FE4D-98F5-925B84F586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309" y="365126"/>
            <a:ext cx="1051697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xmlns="" id="{348AB11D-457D-7D41-8335-147C4E4C246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309" y="1825625"/>
            <a:ext cx="1051697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1D5EA07A-1424-0F4F-BD85-682D60C45C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309" y="6356351"/>
            <a:ext cx="274355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 defTabSz="914400"/>
              <a:t>04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F5D46D7D-5D94-DD44-BA69-DBCCFDB9C7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9126" y="6356351"/>
            <a:ext cx="411533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1C3A2914-F0B2-F043-8D6A-7832AE91E2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1722" y="6356351"/>
            <a:ext cx="274355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 defTabSz="914400"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68038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4" r:id="rId1"/>
    <p:sldLayoutId id="2147484065" r:id="rId2"/>
    <p:sldLayoutId id="2147484066" r:id="rId3"/>
    <p:sldLayoutId id="2147484067" r:id="rId4"/>
    <p:sldLayoutId id="2147484068" r:id="rId5"/>
    <p:sldLayoutId id="2147484069" r:id="rId6"/>
    <p:sldLayoutId id="2147484070" r:id="rId7"/>
    <p:sldLayoutId id="2147484071" r:id="rId8"/>
    <p:sldLayoutId id="2147484072" r:id="rId9"/>
    <p:sldLayoutId id="2147484073" r:id="rId10"/>
    <p:sldLayoutId id="2147484074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tags" Target="../tags/tag72.xml"/><Relationship Id="rId7" Type="http://schemas.openxmlformats.org/officeDocument/2006/relationships/image" Target="../media/image1.emf"/><Relationship Id="rId2" Type="http://schemas.openxmlformats.org/officeDocument/2006/relationships/tags" Target="../tags/tag71.xml"/><Relationship Id="rId1" Type="http://schemas.openxmlformats.org/officeDocument/2006/relationships/vmlDrawing" Target="../drawings/vmlDrawing62.vml"/><Relationship Id="rId6" Type="http://schemas.openxmlformats.org/officeDocument/2006/relationships/oleObject" Target="../embeddings/oleObject62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50.jp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jpeg"/><Relationship Id="rId3" Type="http://schemas.openxmlformats.org/officeDocument/2006/relationships/tags" Target="../tags/tag90.xml"/><Relationship Id="rId7" Type="http://schemas.openxmlformats.org/officeDocument/2006/relationships/image" Target="../media/image1.emf"/><Relationship Id="rId2" Type="http://schemas.openxmlformats.org/officeDocument/2006/relationships/tags" Target="../tags/tag89.xml"/><Relationship Id="rId1" Type="http://schemas.openxmlformats.org/officeDocument/2006/relationships/vmlDrawing" Target="../drawings/vmlDrawing71.vml"/><Relationship Id="rId6" Type="http://schemas.openxmlformats.org/officeDocument/2006/relationships/oleObject" Target="../embeddings/oleObject71.bin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19.xml"/><Relationship Id="rId9" Type="http://schemas.openxmlformats.org/officeDocument/2006/relationships/image" Target="../media/image51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92.xml"/><Relationship Id="rId7" Type="http://schemas.openxmlformats.org/officeDocument/2006/relationships/oleObject" Target="../embeddings/oleObject72.bin"/><Relationship Id="rId2" Type="http://schemas.openxmlformats.org/officeDocument/2006/relationships/tags" Target="../tags/tag91.xml"/><Relationship Id="rId1" Type="http://schemas.openxmlformats.org/officeDocument/2006/relationships/vmlDrawing" Target="../drawings/vmlDrawing72.vml"/><Relationship Id="rId6" Type="http://schemas.openxmlformats.org/officeDocument/2006/relationships/image" Target="../media/image62.jpg"/><Relationship Id="rId5" Type="http://schemas.openxmlformats.org/officeDocument/2006/relationships/notesSlide" Target="../notesSlides/notesSlide11.xml"/><Relationship Id="rId4" Type="http://schemas.openxmlformats.org/officeDocument/2006/relationships/slideLayout" Target="../slideLayouts/slideLayout19.xml"/><Relationship Id="rId9" Type="http://schemas.openxmlformats.org/officeDocument/2006/relationships/image" Target="../media/image51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94.xml"/><Relationship Id="rId7" Type="http://schemas.openxmlformats.org/officeDocument/2006/relationships/oleObject" Target="../embeddings/oleObject73.bin"/><Relationship Id="rId2" Type="http://schemas.openxmlformats.org/officeDocument/2006/relationships/tags" Target="../tags/tag93.xml"/><Relationship Id="rId1" Type="http://schemas.openxmlformats.org/officeDocument/2006/relationships/vmlDrawing" Target="../drawings/vmlDrawing73.vml"/><Relationship Id="rId6" Type="http://schemas.openxmlformats.org/officeDocument/2006/relationships/image" Target="../media/image62.jpg"/><Relationship Id="rId5" Type="http://schemas.openxmlformats.org/officeDocument/2006/relationships/notesSlide" Target="../notesSlides/notesSlide12.xml"/><Relationship Id="rId4" Type="http://schemas.openxmlformats.org/officeDocument/2006/relationships/slideLayout" Target="../slideLayouts/slideLayout19.xml"/><Relationship Id="rId9" Type="http://schemas.openxmlformats.org/officeDocument/2006/relationships/image" Target="../media/image51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96.xml"/><Relationship Id="rId7" Type="http://schemas.openxmlformats.org/officeDocument/2006/relationships/oleObject" Target="../embeddings/oleObject74.bin"/><Relationship Id="rId2" Type="http://schemas.openxmlformats.org/officeDocument/2006/relationships/tags" Target="../tags/tag95.xml"/><Relationship Id="rId1" Type="http://schemas.openxmlformats.org/officeDocument/2006/relationships/vmlDrawing" Target="../drawings/vmlDrawing74.vml"/><Relationship Id="rId6" Type="http://schemas.openxmlformats.org/officeDocument/2006/relationships/image" Target="../media/image63.png"/><Relationship Id="rId5" Type="http://schemas.openxmlformats.org/officeDocument/2006/relationships/notesSlide" Target="../notesSlides/notesSlide13.xml"/><Relationship Id="rId4" Type="http://schemas.openxmlformats.org/officeDocument/2006/relationships/slideLayout" Target="../slideLayouts/slideLayout19.xml"/><Relationship Id="rId9" Type="http://schemas.openxmlformats.org/officeDocument/2006/relationships/image" Target="../media/image51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png"/><Relationship Id="rId3" Type="http://schemas.openxmlformats.org/officeDocument/2006/relationships/tags" Target="../tags/tag98.xml"/><Relationship Id="rId7" Type="http://schemas.openxmlformats.org/officeDocument/2006/relationships/image" Target="../media/image1.emf"/><Relationship Id="rId2" Type="http://schemas.openxmlformats.org/officeDocument/2006/relationships/tags" Target="../tags/tag97.xml"/><Relationship Id="rId1" Type="http://schemas.openxmlformats.org/officeDocument/2006/relationships/vmlDrawing" Target="../drawings/vmlDrawing75.vml"/><Relationship Id="rId6" Type="http://schemas.openxmlformats.org/officeDocument/2006/relationships/oleObject" Target="../embeddings/oleObject75.bin"/><Relationship Id="rId5" Type="http://schemas.openxmlformats.org/officeDocument/2006/relationships/notesSlide" Target="../notesSlides/notesSlide14.xml"/><Relationship Id="rId4" Type="http://schemas.openxmlformats.org/officeDocument/2006/relationships/slideLayout" Target="../slideLayouts/slideLayout19.xml"/><Relationship Id="rId9" Type="http://schemas.openxmlformats.org/officeDocument/2006/relationships/image" Target="../media/image51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3" Type="http://schemas.openxmlformats.org/officeDocument/2006/relationships/tags" Target="../tags/tag100.xml"/><Relationship Id="rId7" Type="http://schemas.openxmlformats.org/officeDocument/2006/relationships/image" Target="../media/image1.emf"/><Relationship Id="rId2" Type="http://schemas.openxmlformats.org/officeDocument/2006/relationships/tags" Target="../tags/tag99.xml"/><Relationship Id="rId1" Type="http://schemas.openxmlformats.org/officeDocument/2006/relationships/vmlDrawing" Target="../drawings/vmlDrawing76.vml"/><Relationship Id="rId6" Type="http://schemas.openxmlformats.org/officeDocument/2006/relationships/oleObject" Target="../embeddings/oleObject76.bin"/><Relationship Id="rId5" Type="http://schemas.openxmlformats.org/officeDocument/2006/relationships/notesSlide" Target="../notesSlides/notesSlide15.xml"/><Relationship Id="rId4" Type="http://schemas.openxmlformats.org/officeDocument/2006/relationships/slideLayout" Target="../slideLayouts/slideLayout19.xml"/><Relationship Id="rId9" Type="http://schemas.openxmlformats.org/officeDocument/2006/relationships/image" Target="../media/image65.jpe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3" Type="http://schemas.openxmlformats.org/officeDocument/2006/relationships/tags" Target="../tags/tag102.xml"/><Relationship Id="rId7" Type="http://schemas.openxmlformats.org/officeDocument/2006/relationships/image" Target="../media/image1.emf"/><Relationship Id="rId2" Type="http://schemas.openxmlformats.org/officeDocument/2006/relationships/tags" Target="../tags/tag101.xml"/><Relationship Id="rId1" Type="http://schemas.openxmlformats.org/officeDocument/2006/relationships/vmlDrawing" Target="../drawings/vmlDrawing77.vml"/><Relationship Id="rId6" Type="http://schemas.openxmlformats.org/officeDocument/2006/relationships/oleObject" Target="../embeddings/oleObject77.bin"/><Relationship Id="rId5" Type="http://schemas.openxmlformats.org/officeDocument/2006/relationships/notesSlide" Target="../notesSlides/notesSlide16.xml"/><Relationship Id="rId4" Type="http://schemas.openxmlformats.org/officeDocument/2006/relationships/slideLayout" Target="../slideLayouts/slideLayout19.xml"/><Relationship Id="rId9" Type="http://schemas.openxmlformats.org/officeDocument/2006/relationships/image" Target="../media/image65.jpe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3" Type="http://schemas.openxmlformats.org/officeDocument/2006/relationships/tags" Target="../tags/tag104.xml"/><Relationship Id="rId7" Type="http://schemas.openxmlformats.org/officeDocument/2006/relationships/image" Target="../media/image1.emf"/><Relationship Id="rId2" Type="http://schemas.openxmlformats.org/officeDocument/2006/relationships/tags" Target="../tags/tag103.xml"/><Relationship Id="rId1" Type="http://schemas.openxmlformats.org/officeDocument/2006/relationships/vmlDrawing" Target="../drawings/vmlDrawing78.vml"/><Relationship Id="rId6" Type="http://schemas.openxmlformats.org/officeDocument/2006/relationships/oleObject" Target="../embeddings/oleObject78.bin"/><Relationship Id="rId5" Type="http://schemas.openxmlformats.org/officeDocument/2006/relationships/notesSlide" Target="../notesSlides/notesSlide17.xml"/><Relationship Id="rId4" Type="http://schemas.openxmlformats.org/officeDocument/2006/relationships/slideLayout" Target="../slideLayouts/slideLayout19.xml"/><Relationship Id="rId9" Type="http://schemas.openxmlformats.org/officeDocument/2006/relationships/image" Target="../media/image65.jpe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3" Type="http://schemas.openxmlformats.org/officeDocument/2006/relationships/tags" Target="../tags/tag106.xml"/><Relationship Id="rId7" Type="http://schemas.openxmlformats.org/officeDocument/2006/relationships/image" Target="../media/image1.emf"/><Relationship Id="rId2" Type="http://schemas.openxmlformats.org/officeDocument/2006/relationships/tags" Target="../tags/tag105.xml"/><Relationship Id="rId1" Type="http://schemas.openxmlformats.org/officeDocument/2006/relationships/vmlDrawing" Target="../drawings/vmlDrawing79.vml"/><Relationship Id="rId6" Type="http://schemas.openxmlformats.org/officeDocument/2006/relationships/oleObject" Target="../embeddings/oleObject79.bin"/><Relationship Id="rId5" Type="http://schemas.openxmlformats.org/officeDocument/2006/relationships/notesSlide" Target="../notesSlides/notesSlide18.xml"/><Relationship Id="rId4" Type="http://schemas.openxmlformats.org/officeDocument/2006/relationships/slideLayout" Target="../slideLayouts/slideLayout19.xml"/><Relationship Id="rId9" Type="http://schemas.openxmlformats.org/officeDocument/2006/relationships/image" Target="../media/image65.jpe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3" Type="http://schemas.openxmlformats.org/officeDocument/2006/relationships/tags" Target="../tags/tag108.xml"/><Relationship Id="rId7" Type="http://schemas.openxmlformats.org/officeDocument/2006/relationships/image" Target="../media/image1.emf"/><Relationship Id="rId2" Type="http://schemas.openxmlformats.org/officeDocument/2006/relationships/tags" Target="../tags/tag107.xml"/><Relationship Id="rId1" Type="http://schemas.openxmlformats.org/officeDocument/2006/relationships/vmlDrawing" Target="../drawings/vmlDrawing80.vml"/><Relationship Id="rId6" Type="http://schemas.openxmlformats.org/officeDocument/2006/relationships/oleObject" Target="../embeddings/oleObject80.bin"/><Relationship Id="rId5" Type="http://schemas.openxmlformats.org/officeDocument/2006/relationships/notesSlide" Target="../notesSlides/notesSlide19.xml"/><Relationship Id="rId4" Type="http://schemas.openxmlformats.org/officeDocument/2006/relationships/slideLayout" Target="../slideLayouts/slideLayout19.xml"/><Relationship Id="rId9" Type="http://schemas.openxmlformats.org/officeDocument/2006/relationships/image" Target="../media/image65.jpe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3" Type="http://schemas.openxmlformats.org/officeDocument/2006/relationships/tags" Target="../tags/tag74.xml"/><Relationship Id="rId7" Type="http://schemas.openxmlformats.org/officeDocument/2006/relationships/image" Target="../media/image1.emf"/><Relationship Id="rId2" Type="http://schemas.openxmlformats.org/officeDocument/2006/relationships/tags" Target="../tags/tag73.xml"/><Relationship Id="rId1" Type="http://schemas.openxmlformats.org/officeDocument/2006/relationships/vmlDrawing" Target="../drawings/vmlDrawing63.vml"/><Relationship Id="rId6" Type="http://schemas.openxmlformats.org/officeDocument/2006/relationships/oleObject" Target="../embeddings/oleObject63.bin"/><Relationship Id="rId5" Type="http://schemas.openxmlformats.org/officeDocument/2006/relationships/notesSlide" Target="../notesSlides/notesSlide2.xml"/><Relationship Id="rId10" Type="http://schemas.openxmlformats.org/officeDocument/2006/relationships/image" Target="../media/image53.tiff"/><Relationship Id="rId4" Type="http://schemas.openxmlformats.org/officeDocument/2006/relationships/slideLayout" Target="../slideLayouts/slideLayout19.xml"/><Relationship Id="rId9" Type="http://schemas.openxmlformats.org/officeDocument/2006/relationships/image" Target="../media/image52.tiff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3" Type="http://schemas.openxmlformats.org/officeDocument/2006/relationships/tags" Target="../tags/tag110.xml"/><Relationship Id="rId7" Type="http://schemas.openxmlformats.org/officeDocument/2006/relationships/image" Target="../media/image1.emf"/><Relationship Id="rId2" Type="http://schemas.openxmlformats.org/officeDocument/2006/relationships/tags" Target="../tags/tag109.xml"/><Relationship Id="rId1" Type="http://schemas.openxmlformats.org/officeDocument/2006/relationships/vmlDrawing" Target="../drawings/vmlDrawing81.vml"/><Relationship Id="rId6" Type="http://schemas.openxmlformats.org/officeDocument/2006/relationships/oleObject" Target="../embeddings/oleObject81.bin"/><Relationship Id="rId5" Type="http://schemas.openxmlformats.org/officeDocument/2006/relationships/notesSlide" Target="../notesSlides/notesSlide20.xml"/><Relationship Id="rId4" Type="http://schemas.openxmlformats.org/officeDocument/2006/relationships/slideLayout" Target="../slideLayouts/slideLayout19.xml"/><Relationship Id="rId9" Type="http://schemas.openxmlformats.org/officeDocument/2006/relationships/image" Target="../media/image65.jpe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emf"/><Relationship Id="rId3" Type="http://schemas.openxmlformats.org/officeDocument/2006/relationships/tags" Target="../tags/tag112.xml"/><Relationship Id="rId7" Type="http://schemas.openxmlformats.org/officeDocument/2006/relationships/image" Target="../media/image1.emf"/><Relationship Id="rId2" Type="http://schemas.openxmlformats.org/officeDocument/2006/relationships/tags" Target="../tags/tag111.xml"/><Relationship Id="rId1" Type="http://schemas.openxmlformats.org/officeDocument/2006/relationships/vmlDrawing" Target="../drawings/vmlDrawing82.vml"/><Relationship Id="rId6" Type="http://schemas.openxmlformats.org/officeDocument/2006/relationships/oleObject" Target="../embeddings/oleObject82.bin"/><Relationship Id="rId5" Type="http://schemas.openxmlformats.org/officeDocument/2006/relationships/notesSlide" Target="../notesSlides/notesSlide21.xml"/><Relationship Id="rId4" Type="http://schemas.openxmlformats.org/officeDocument/2006/relationships/slideLayout" Target="../slideLayouts/slideLayout19.xml"/><Relationship Id="rId9" Type="http://schemas.openxmlformats.org/officeDocument/2006/relationships/image" Target="../media/image51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3" Type="http://schemas.openxmlformats.org/officeDocument/2006/relationships/tags" Target="../tags/tag114.xml"/><Relationship Id="rId7" Type="http://schemas.openxmlformats.org/officeDocument/2006/relationships/image" Target="../media/image1.emf"/><Relationship Id="rId2" Type="http://schemas.openxmlformats.org/officeDocument/2006/relationships/tags" Target="../tags/tag113.xml"/><Relationship Id="rId1" Type="http://schemas.openxmlformats.org/officeDocument/2006/relationships/vmlDrawing" Target="../drawings/vmlDrawing83.vml"/><Relationship Id="rId6" Type="http://schemas.openxmlformats.org/officeDocument/2006/relationships/oleObject" Target="../embeddings/oleObject83.bin"/><Relationship Id="rId5" Type="http://schemas.openxmlformats.org/officeDocument/2006/relationships/notesSlide" Target="../notesSlides/notesSlide22.xml"/><Relationship Id="rId4" Type="http://schemas.openxmlformats.org/officeDocument/2006/relationships/slideLayout" Target="../slideLayouts/slideLayout19.xml"/><Relationship Id="rId9" Type="http://schemas.openxmlformats.org/officeDocument/2006/relationships/image" Target="../media/image67.jpe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3" Type="http://schemas.openxmlformats.org/officeDocument/2006/relationships/tags" Target="../tags/tag116.xml"/><Relationship Id="rId7" Type="http://schemas.openxmlformats.org/officeDocument/2006/relationships/image" Target="../media/image1.emf"/><Relationship Id="rId2" Type="http://schemas.openxmlformats.org/officeDocument/2006/relationships/tags" Target="../tags/tag115.xml"/><Relationship Id="rId1" Type="http://schemas.openxmlformats.org/officeDocument/2006/relationships/vmlDrawing" Target="../drawings/vmlDrawing84.vml"/><Relationship Id="rId6" Type="http://schemas.openxmlformats.org/officeDocument/2006/relationships/oleObject" Target="../embeddings/oleObject84.bin"/><Relationship Id="rId5" Type="http://schemas.openxmlformats.org/officeDocument/2006/relationships/notesSlide" Target="../notesSlides/notesSlide23.xml"/><Relationship Id="rId4" Type="http://schemas.openxmlformats.org/officeDocument/2006/relationships/slideLayout" Target="../slideLayouts/slideLayout19.xml"/><Relationship Id="rId9" Type="http://schemas.openxmlformats.org/officeDocument/2006/relationships/image" Target="../media/image67.jpe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3" Type="http://schemas.openxmlformats.org/officeDocument/2006/relationships/tags" Target="../tags/tag118.xml"/><Relationship Id="rId7" Type="http://schemas.openxmlformats.org/officeDocument/2006/relationships/image" Target="../media/image1.emf"/><Relationship Id="rId2" Type="http://schemas.openxmlformats.org/officeDocument/2006/relationships/tags" Target="../tags/tag117.xml"/><Relationship Id="rId1" Type="http://schemas.openxmlformats.org/officeDocument/2006/relationships/vmlDrawing" Target="../drawings/vmlDrawing85.vml"/><Relationship Id="rId6" Type="http://schemas.openxmlformats.org/officeDocument/2006/relationships/oleObject" Target="../embeddings/oleObject85.bin"/><Relationship Id="rId5" Type="http://schemas.openxmlformats.org/officeDocument/2006/relationships/notesSlide" Target="../notesSlides/notesSlide24.xml"/><Relationship Id="rId4" Type="http://schemas.openxmlformats.org/officeDocument/2006/relationships/slideLayout" Target="../slideLayouts/slideLayout19.xml"/><Relationship Id="rId9" Type="http://schemas.openxmlformats.org/officeDocument/2006/relationships/image" Target="../media/image68.jpe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9.tiff"/><Relationship Id="rId3" Type="http://schemas.openxmlformats.org/officeDocument/2006/relationships/tags" Target="../tags/tag120.xml"/><Relationship Id="rId7" Type="http://schemas.openxmlformats.org/officeDocument/2006/relationships/image" Target="../media/image1.emf"/><Relationship Id="rId2" Type="http://schemas.openxmlformats.org/officeDocument/2006/relationships/tags" Target="../tags/tag119.xml"/><Relationship Id="rId1" Type="http://schemas.openxmlformats.org/officeDocument/2006/relationships/vmlDrawing" Target="../drawings/vmlDrawing86.vml"/><Relationship Id="rId6" Type="http://schemas.openxmlformats.org/officeDocument/2006/relationships/oleObject" Target="../embeddings/oleObject86.bin"/><Relationship Id="rId5" Type="http://schemas.openxmlformats.org/officeDocument/2006/relationships/notesSlide" Target="../notesSlides/notesSlide25.xml"/><Relationship Id="rId10" Type="http://schemas.openxmlformats.org/officeDocument/2006/relationships/image" Target="../media/image68.jpeg"/><Relationship Id="rId4" Type="http://schemas.openxmlformats.org/officeDocument/2006/relationships/slideLayout" Target="../slideLayouts/slideLayout19.xml"/><Relationship Id="rId9" Type="http://schemas.openxmlformats.org/officeDocument/2006/relationships/image" Target="../media/image51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3" Type="http://schemas.openxmlformats.org/officeDocument/2006/relationships/tags" Target="../tags/tag122.xml"/><Relationship Id="rId7" Type="http://schemas.openxmlformats.org/officeDocument/2006/relationships/image" Target="../media/image1.emf"/><Relationship Id="rId2" Type="http://schemas.openxmlformats.org/officeDocument/2006/relationships/tags" Target="../tags/tag121.xml"/><Relationship Id="rId1" Type="http://schemas.openxmlformats.org/officeDocument/2006/relationships/vmlDrawing" Target="../drawings/vmlDrawing87.vml"/><Relationship Id="rId6" Type="http://schemas.openxmlformats.org/officeDocument/2006/relationships/oleObject" Target="../embeddings/oleObject87.bin"/><Relationship Id="rId5" Type="http://schemas.openxmlformats.org/officeDocument/2006/relationships/notesSlide" Target="../notesSlides/notesSlide26.xml"/><Relationship Id="rId4" Type="http://schemas.openxmlformats.org/officeDocument/2006/relationships/slideLayout" Target="../slideLayouts/slideLayout19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24.xml"/><Relationship Id="rId7" Type="http://schemas.openxmlformats.org/officeDocument/2006/relationships/oleObject" Target="../embeddings/oleObject88.bin"/><Relationship Id="rId2" Type="http://schemas.openxmlformats.org/officeDocument/2006/relationships/tags" Target="../tags/tag123.xml"/><Relationship Id="rId1" Type="http://schemas.openxmlformats.org/officeDocument/2006/relationships/vmlDrawing" Target="../drawings/vmlDrawing88.vml"/><Relationship Id="rId6" Type="http://schemas.openxmlformats.org/officeDocument/2006/relationships/image" Target="../media/image70.jpg"/><Relationship Id="rId5" Type="http://schemas.openxmlformats.org/officeDocument/2006/relationships/notesSlide" Target="../notesSlides/notesSlide27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51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slideLayout" Target="../slideLayouts/slideLayout174.xml"/><Relationship Id="rId1" Type="http://schemas.openxmlformats.org/officeDocument/2006/relationships/tags" Target="../tags/tag125.xml"/><Relationship Id="rId6" Type="http://schemas.openxmlformats.org/officeDocument/2006/relationships/image" Target="../media/image73.png"/><Relationship Id="rId5" Type="http://schemas.openxmlformats.org/officeDocument/2006/relationships/image" Target="../media/image59.svg"/><Relationship Id="rId4" Type="http://schemas.openxmlformats.org/officeDocument/2006/relationships/image" Target="../media/image72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slideLayout" Target="../slideLayouts/slideLayout174.xml"/><Relationship Id="rId1" Type="http://schemas.openxmlformats.org/officeDocument/2006/relationships/tags" Target="../tags/tag126.xml"/><Relationship Id="rId6" Type="http://schemas.openxmlformats.org/officeDocument/2006/relationships/image" Target="../media/image74.png"/><Relationship Id="rId5" Type="http://schemas.openxmlformats.org/officeDocument/2006/relationships/image" Target="../media/image59.svg"/><Relationship Id="rId4" Type="http://schemas.openxmlformats.org/officeDocument/2006/relationships/image" Target="../media/image72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jpg"/><Relationship Id="rId3" Type="http://schemas.openxmlformats.org/officeDocument/2006/relationships/tags" Target="../tags/tag76.xml"/><Relationship Id="rId7" Type="http://schemas.openxmlformats.org/officeDocument/2006/relationships/image" Target="../media/image1.emf"/><Relationship Id="rId2" Type="http://schemas.openxmlformats.org/officeDocument/2006/relationships/tags" Target="../tags/tag75.xml"/><Relationship Id="rId1" Type="http://schemas.openxmlformats.org/officeDocument/2006/relationships/vmlDrawing" Target="../drawings/vmlDrawing64.vml"/><Relationship Id="rId6" Type="http://schemas.openxmlformats.org/officeDocument/2006/relationships/oleObject" Target="../embeddings/oleObject64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19.xml"/><Relationship Id="rId9" Type="http://schemas.openxmlformats.org/officeDocument/2006/relationships/image" Target="../media/image51.pn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67.xml"/><Relationship Id="rId1" Type="http://schemas.openxmlformats.org/officeDocument/2006/relationships/tags" Target="../tags/tag127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8.xml"/><Relationship Id="rId7" Type="http://schemas.openxmlformats.org/officeDocument/2006/relationships/oleObject" Target="../embeddings/oleObject65.bin"/><Relationship Id="rId2" Type="http://schemas.openxmlformats.org/officeDocument/2006/relationships/tags" Target="../tags/tag77.xml"/><Relationship Id="rId1" Type="http://schemas.openxmlformats.org/officeDocument/2006/relationships/vmlDrawing" Target="../drawings/vmlDrawing65.vml"/><Relationship Id="rId6" Type="http://schemas.openxmlformats.org/officeDocument/2006/relationships/image" Target="../media/image55.jpeg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19.xml"/><Relationship Id="rId9" Type="http://schemas.openxmlformats.org/officeDocument/2006/relationships/image" Target="../media/image51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jpeg"/><Relationship Id="rId3" Type="http://schemas.openxmlformats.org/officeDocument/2006/relationships/tags" Target="../tags/tag80.xml"/><Relationship Id="rId7" Type="http://schemas.openxmlformats.org/officeDocument/2006/relationships/image" Target="../media/image1.emf"/><Relationship Id="rId2" Type="http://schemas.openxmlformats.org/officeDocument/2006/relationships/tags" Target="../tags/tag79.xml"/><Relationship Id="rId1" Type="http://schemas.openxmlformats.org/officeDocument/2006/relationships/vmlDrawing" Target="../drawings/vmlDrawing66.vml"/><Relationship Id="rId6" Type="http://schemas.openxmlformats.org/officeDocument/2006/relationships/oleObject" Target="../embeddings/oleObject66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19.xml"/><Relationship Id="rId9" Type="http://schemas.openxmlformats.org/officeDocument/2006/relationships/image" Target="../media/image51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jpeg"/><Relationship Id="rId3" Type="http://schemas.openxmlformats.org/officeDocument/2006/relationships/tags" Target="../tags/tag82.xml"/><Relationship Id="rId7" Type="http://schemas.openxmlformats.org/officeDocument/2006/relationships/image" Target="../media/image1.emf"/><Relationship Id="rId2" Type="http://schemas.openxmlformats.org/officeDocument/2006/relationships/tags" Target="../tags/tag81.xml"/><Relationship Id="rId1" Type="http://schemas.openxmlformats.org/officeDocument/2006/relationships/vmlDrawing" Target="../drawings/vmlDrawing67.vml"/><Relationship Id="rId6" Type="http://schemas.openxmlformats.org/officeDocument/2006/relationships/oleObject" Target="../embeddings/oleObject67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19.xml"/><Relationship Id="rId9" Type="http://schemas.openxmlformats.org/officeDocument/2006/relationships/image" Target="../media/image51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jpeg"/><Relationship Id="rId3" Type="http://schemas.openxmlformats.org/officeDocument/2006/relationships/tags" Target="../tags/tag84.xml"/><Relationship Id="rId7" Type="http://schemas.openxmlformats.org/officeDocument/2006/relationships/image" Target="../media/image1.emf"/><Relationship Id="rId2" Type="http://schemas.openxmlformats.org/officeDocument/2006/relationships/tags" Target="../tags/tag83.xml"/><Relationship Id="rId1" Type="http://schemas.openxmlformats.org/officeDocument/2006/relationships/vmlDrawing" Target="../drawings/vmlDrawing68.vml"/><Relationship Id="rId6" Type="http://schemas.openxmlformats.org/officeDocument/2006/relationships/oleObject" Target="../embeddings/oleObject68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19.xml"/><Relationship Id="rId9" Type="http://schemas.openxmlformats.org/officeDocument/2006/relationships/image" Target="../media/image51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jpeg"/><Relationship Id="rId3" Type="http://schemas.openxmlformats.org/officeDocument/2006/relationships/tags" Target="../tags/tag86.xml"/><Relationship Id="rId7" Type="http://schemas.openxmlformats.org/officeDocument/2006/relationships/image" Target="../media/image1.emf"/><Relationship Id="rId2" Type="http://schemas.openxmlformats.org/officeDocument/2006/relationships/tags" Target="../tags/tag85.xml"/><Relationship Id="rId1" Type="http://schemas.openxmlformats.org/officeDocument/2006/relationships/vmlDrawing" Target="../drawings/vmlDrawing69.vml"/><Relationship Id="rId6" Type="http://schemas.openxmlformats.org/officeDocument/2006/relationships/oleObject" Target="../embeddings/oleObject69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19.xml"/><Relationship Id="rId9" Type="http://schemas.openxmlformats.org/officeDocument/2006/relationships/image" Target="../media/image51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88.xml"/><Relationship Id="rId7" Type="http://schemas.openxmlformats.org/officeDocument/2006/relationships/oleObject" Target="../embeddings/oleObject70.bin"/><Relationship Id="rId2" Type="http://schemas.openxmlformats.org/officeDocument/2006/relationships/tags" Target="../tags/tag87.xml"/><Relationship Id="rId1" Type="http://schemas.openxmlformats.org/officeDocument/2006/relationships/vmlDrawing" Target="../drawings/vmlDrawing70.vml"/><Relationship Id="rId6" Type="http://schemas.openxmlformats.org/officeDocument/2006/relationships/image" Target="../media/image60.jpeg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19.xml"/><Relationship Id="rId9" Type="http://schemas.openxmlformats.org/officeDocument/2006/relationships/image" Target="../media/image5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2004" y="1210"/>
          <a:ext cx="1210" cy="12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3238" name="Diapositiva de think-cell" r:id="rId6" imgW="415" imgH="416" progId="TCLayout.ActiveDocument.1">
                  <p:embed/>
                </p:oleObj>
              </mc:Choice>
              <mc:Fallback>
                <p:oleObj name="Diapositiva de think-cell" r:id="rId6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004" y="1210"/>
                        <a:ext cx="1210" cy="121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ángulo 20">
            <a:extLst>
              <a:ext uri="{FF2B5EF4-FFF2-40B4-BE49-F238E27FC236}">
                <a16:creationId xmlns:a16="http://schemas.microsoft.com/office/drawing/2014/main" xmlns="" id="{D7B24A2B-BFC7-9C46-8A84-2749DCFF7DEC}"/>
              </a:ext>
            </a:extLst>
          </p:cNvPr>
          <p:cNvSpPr/>
          <p:nvPr/>
        </p:nvSpPr>
        <p:spPr>
          <a:xfrm>
            <a:off x="7921099" y="-48616"/>
            <a:ext cx="4424909" cy="6944629"/>
          </a:xfrm>
          <a:prstGeom prst="rect">
            <a:avLst/>
          </a:prstGeom>
          <a:solidFill>
            <a:srgbClr val="EBE9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372" dirty="0"/>
          </a:p>
        </p:txBody>
      </p:sp>
      <p:pic>
        <p:nvPicPr>
          <p:cNvPr id="24" name="Imagen 14">
            <a:extLst>
              <a:ext uri="{FF2B5EF4-FFF2-40B4-BE49-F238E27FC236}">
                <a16:creationId xmlns:a16="http://schemas.microsoft.com/office/drawing/2014/main" xmlns="" id="{2DBCA877-7683-4242-9F1D-14D1E02A2B9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66208" y="401655"/>
            <a:ext cx="833536" cy="1303457"/>
          </a:xfrm>
          <a:prstGeom prst="rect">
            <a:avLst/>
          </a:prstGeom>
        </p:spPr>
      </p:pic>
      <p:sp>
        <p:nvSpPr>
          <p:cNvPr id="25" name="Rectángulo redondeado 12">
            <a:extLst>
              <a:ext uri="{FF2B5EF4-FFF2-40B4-BE49-F238E27FC236}">
                <a16:creationId xmlns:a16="http://schemas.microsoft.com/office/drawing/2014/main" xmlns="" id="{D2069E85-1A5B-8749-B2EF-116146FA5156}"/>
              </a:ext>
            </a:extLst>
          </p:cNvPr>
          <p:cNvSpPr/>
          <p:nvPr/>
        </p:nvSpPr>
        <p:spPr>
          <a:xfrm>
            <a:off x="8203208" y="3859912"/>
            <a:ext cx="2227028" cy="369060"/>
          </a:xfrm>
          <a:prstGeom prst="roundRect">
            <a:avLst/>
          </a:prstGeom>
          <a:solidFill>
            <a:srgbClr val="74E93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2800" dirty="0"/>
          </a:p>
        </p:txBody>
      </p:sp>
      <p:sp>
        <p:nvSpPr>
          <p:cNvPr id="26" name="Rectángulo 13">
            <a:extLst>
              <a:ext uri="{FF2B5EF4-FFF2-40B4-BE49-F238E27FC236}">
                <a16:creationId xmlns:a16="http://schemas.microsoft.com/office/drawing/2014/main" xmlns="" id="{F41DC409-37FE-E848-8109-9CD12526AD3E}"/>
              </a:ext>
            </a:extLst>
          </p:cNvPr>
          <p:cNvSpPr/>
          <p:nvPr/>
        </p:nvSpPr>
        <p:spPr>
          <a:xfrm>
            <a:off x="8203207" y="3859912"/>
            <a:ext cx="2214068" cy="36901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3966">
              <a:defRPr/>
            </a:pPr>
            <a:r>
              <a:rPr lang="es-ES" sz="1798" dirty="0">
                <a:solidFill>
                  <a:srgbClr val="004C14"/>
                </a:solidFill>
                <a:latin typeface="ACHS Nueva Serif" pitchFamily="2" charset="77"/>
                <a:cs typeface="Arial" panose="020B0604020202020204" pitchFamily="34" charset="0"/>
              </a:rPr>
              <a:t>Charla / </a:t>
            </a:r>
            <a:r>
              <a:rPr lang="es-ES" sz="1798" dirty="0" smtClean="0">
                <a:solidFill>
                  <a:srgbClr val="004C14"/>
                </a:solidFill>
                <a:latin typeface="ACHS Nueva Serif" pitchFamily="2" charset="77"/>
                <a:cs typeface="Arial" panose="020B0604020202020204" pitchFamily="34" charset="0"/>
              </a:rPr>
              <a:t>Presencial</a:t>
            </a:r>
            <a:endParaRPr lang="es-ES" sz="1798" dirty="0">
              <a:solidFill>
                <a:srgbClr val="004C14"/>
              </a:solidFill>
              <a:latin typeface="ACHS Nueva Serif" pitchFamily="2" charset="77"/>
              <a:cs typeface="Arial" panose="020B0604020202020204" pitchFamily="34" charset="0"/>
            </a:endParaRPr>
          </a:p>
        </p:txBody>
      </p:sp>
      <p:sp>
        <p:nvSpPr>
          <p:cNvPr id="28" name="Marcador de texto 1">
            <a:extLst>
              <a:ext uri="{FF2B5EF4-FFF2-40B4-BE49-F238E27FC236}">
                <a16:creationId xmlns:a16="http://schemas.microsoft.com/office/drawing/2014/main" xmlns="" id="{3CBC9175-5D59-6149-A075-637B26A4C990}"/>
              </a:ext>
            </a:extLst>
          </p:cNvPr>
          <p:cNvSpPr txBox="1">
            <a:spLocks/>
          </p:cNvSpPr>
          <p:nvPr/>
        </p:nvSpPr>
        <p:spPr>
          <a:xfrm>
            <a:off x="8203207" y="4149080"/>
            <a:ext cx="4260960" cy="228444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CL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s-ES" sz="2400" dirty="0">
                <a:solidFill>
                  <a:srgbClr val="0C662F"/>
                </a:solidFill>
                <a:latin typeface="ACHS Nueva Serif" pitchFamily="2" charset="77"/>
                <a:sym typeface="Arial"/>
              </a:rPr>
              <a:t>Prevención de riesgos </a:t>
            </a:r>
          </a:p>
          <a:p>
            <a:pPr algn="l"/>
            <a:r>
              <a:rPr lang="es-ES" sz="2400" dirty="0">
                <a:solidFill>
                  <a:srgbClr val="0C662F"/>
                </a:solidFill>
                <a:latin typeface="ACHS Nueva Serif" pitchFamily="2" charset="77"/>
                <a:sym typeface="Arial"/>
              </a:rPr>
              <a:t>en trabajos en altura – Carpintero en obra</a:t>
            </a:r>
          </a:p>
          <a:p>
            <a:pPr algn="l"/>
            <a:endParaRPr lang="es-ES" sz="2400" dirty="0">
              <a:solidFill>
                <a:srgbClr val="0C662F"/>
              </a:solidFill>
              <a:sym typeface="Arial"/>
            </a:endParaRPr>
          </a:p>
          <a:p>
            <a:pPr algn="l"/>
            <a:endParaRPr lang="es-CL" sz="2400" dirty="0">
              <a:solidFill>
                <a:srgbClr val="0C662F"/>
              </a:solidFill>
              <a:latin typeface="ACHS Nueva Serif" pitchFamily="2" charset="77"/>
            </a:endParaRPr>
          </a:p>
        </p:txBody>
      </p:sp>
      <p:pic>
        <p:nvPicPr>
          <p:cNvPr id="30" name="Imagen 2">
            <a:extLst>
              <a:ext uri="{FF2B5EF4-FFF2-40B4-BE49-F238E27FC236}">
                <a16:creationId xmlns:a16="http://schemas.microsoft.com/office/drawing/2014/main" xmlns="" id="{009642D4-5407-7D4E-AF10-44E33C8CB20B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368" t="-287" r="9285"/>
          <a:stretch/>
        </p:blipFill>
        <p:spPr>
          <a:xfrm>
            <a:off x="-383926" y="-86629"/>
            <a:ext cx="8305024" cy="6944629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2114000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2004" y="1210"/>
          <a:ext cx="1210" cy="12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10" name="Diapositiva de think-cell" r:id="rId6" imgW="415" imgH="416" progId="TCLayout.ActiveDocument.1">
                  <p:embed/>
                </p:oleObj>
              </mc:Choice>
              <mc:Fallback>
                <p:oleObj name="Diapositiva de think-cell" r:id="rId6" imgW="415" imgH="416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004" y="1210"/>
                        <a:ext cx="1210" cy="121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3 Imagen" descr="DSC_1119.JPG"/>
          <p:cNvPicPr preferRelativeResize="0">
            <a:picLocks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795" r="688"/>
          <a:stretch/>
        </p:blipFill>
        <p:spPr bwMode="auto">
          <a:xfrm>
            <a:off x="4536604" y="1483200"/>
            <a:ext cx="7680870" cy="539310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noFill/>
            <a:miter lim="800000"/>
          </a:ln>
          <a:effectLst/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sp>
        <p:nvSpPr>
          <p:cNvPr id="13" name="Marcador de texto 31">
            <a:extLst>
              <a:ext uri="{FF2B5EF4-FFF2-40B4-BE49-F238E27FC236}">
                <a16:creationId xmlns:a16="http://schemas.microsoft.com/office/drawing/2014/main" xmlns="" id="{76232F56-2A06-F944-8EB2-7FFAFEC54322}"/>
              </a:ext>
            </a:extLst>
          </p:cNvPr>
          <p:cNvSpPr txBox="1">
            <a:spLocks/>
          </p:cNvSpPr>
          <p:nvPr/>
        </p:nvSpPr>
        <p:spPr>
          <a:xfrm>
            <a:off x="568550" y="1468228"/>
            <a:ext cx="3433449" cy="5201132"/>
          </a:xfrm>
          <a:prstGeom prst="rect">
            <a:avLst/>
          </a:prstGeom>
        </p:spPr>
        <p:txBody>
          <a:bodyPr>
            <a:norm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Font typeface="Arial" panose="020B0604020202020204" pitchFamily="34" charset="0"/>
              <a:buChar char="•"/>
              <a:defRPr/>
            </a:pPr>
            <a:r>
              <a:rPr lang="es-CL" sz="1500" dirty="0">
                <a:latin typeface="ACHS Nueva Sans Medium" pitchFamily="2" charset="77"/>
              </a:rPr>
              <a:t>Asegurarse el buen estado de la máquina a utilizar. </a:t>
            </a:r>
          </a:p>
          <a:p>
            <a:pPr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Font typeface="Arial" panose="020B0604020202020204" pitchFamily="34" charset="0"/>
              <a:buChar char="•"/>
              <a:defRPr/>
            </a:pPr>
            <a:endParaRPr lang="es-CL" sz="1500" dirty="0">
              <a:latin typeface="ACHS Nueva Sans Medium" pitchFamily="2" charset="77"/>
            </a:endParaRPr>
          </a:p>
          <a:p>
            <a:pPr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Font typeface="Arial" panose="020B0604020202020204" pitchFamily="34" charset="0"/>
              <a:buChar char="•"/>
              <a:defRPr/>
            </a:pPr>
            <a:r>
              <a:rPr lang="es-CL" sz="1500" dirty="0">
                <a:latin typeface="ACHS Nueva Sans Medium" pitchFamily="2" charset="77"/>
              </a:rPr>
              <a:t>No deberá anular las protecciones de  las máquinas.        </a:t>
            </a:r>
          </a:p>
          <a:p>
            <a:pPr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Font typeface="Arial" panose="020B0604020202020204" pitchFamily="34" charset="0"/>
              <a:buChar char="•"/>
              <a:defRPr/>
            </a:pPr>
            <a:endParaRPr lang="es-CL" sz="1500" dirty="0">
              <a:latin typeface="ACHS Nueva Sans Medium" pitchFamily="2" charset="77"/>
            </a:endParaRPr>
          </a:p>
          <a:p>
            <a:pPr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Font typeface="Arial" panose="020B0604020202020204" pitchFamily="34" charset="0"/>
              <a:buChar char="•"/>
              <a:defRPr/>
            </a:pPr>
            <a:r>
              <a:rPr lang="es-CL" sz="1500" dirty="0">
                <a:latin typeface="ACHS Nueva Sans Medium" pitchFamily="2" charset="77"/>
              </a:rPr>
              <a:t>El desprendimiento de los tableros se ejecutará con una pieza metálica, operación que se llevará a cabo desde una zona ya descimbrada                    (piso interior). </a:t>
            </a:r>
          </a:p>
          <a:p>
            <a:pPr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Font typeface="Arial" panose="020B0604020202020204" pitchFamily="34" charset="0"/>
              <a:buChar char="•"/>
              <a:defRPr/>
            </a:pPr>
            <a:endParaRPr lang="es-CL" sz="1500" dirty="0">
              <a:latin typeface="ACHS Nueva Sans Medium" pitchFamily="2" charset="77"/>
            </a:endParaRPr>
          </a:p>
          <a:p>
            <a:pPr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Font typeface="Arial" panose="020B0604020202020204" pitchFamily="34" charset="0"/>
              <a:buChar char="•"/>
              <a:defRPr/>
            </a:pPr>
            <a:r>
              <a:rPr lang="es-CL" sz="1500" dirty="0">
                <a:latin typeface="ACHS Nueva Sans Medium" pitchFamily="2" charset="77"/>
              </a:rPr>
              <a:t>Las fuentes de ruido se situarán cuanto más aisladas y alejadas de las personas mejor, haciendo uso de protectores auditivos en caso necesario.</a:t>
            </a:r>
          </a:p>
          <a:p>
            <a:pPr marL="0" indent="0"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None/>
            </a:pPr>
            <a:endParaRPr lang="es-CL" altLang="es-CL" sz="1500" dirty="0">
              <a:latin typeface="ACHS Nueva Sans Medium" pitchFamily="2" charset="77"/>
            </a:endParaRPr>
          </a:p>
          <a:p>
            <a:pPr algn="just">
              <a:lnSpc>
                <a:spcPct val="100000"/>
              </a:lnSpc>
              <a:spcBef>
                <a:spcPts val="914"/>
              </a:spcBef>
              <a:buClr>
                <a:srgbClr val="83B827"/>
              </a:buClr>
              <a:buSzPct val="100000"/>
              <a:buFont typeface="Arial" panose="020B0604020202020204" pitchFamily="34" charset="0"/>
              <a:buChar char="•"/>
            </a:pPr>
            <a:endParaRPr lang="es-CL" altLang="es-CL" sz="1500" kern="0" dirty="0">
              <a:solidFill>
                <a:srgbClr val="8A8A8A">
                  <a:lumMod val="75000"/>
                </a:srgbClr>
              </a:solidFill>
            </a:endParaRPr>
          </a:p>
        </p:txBody>
      </p:sp>
      <p:pic>
        <p:nvPicPr>
          <p:cNvPr id="14" name="Imagen 5">
            <a:extLst>
              <a:ext uri="{FF2B5EF4-FFF2-40B4-BE49-F238E27FC236}">
                <a16:creationId xmlns:a16="http://schemas.microsoft.com/office/drawing/2014/main" xmlns="" id="{A85C13B1-9BAB-2140-B56B-D76C7552C68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56681" y="497023"/>
            <a:ext cx="1239794" cy="506480"/>
          </a:xfrm>
          <a:prstGeom prst="rect">
            <a:avLst/>
          </a:prstGeom>
        </p:spPr>
      </p:pic>
      <p:cxnSp>
        <p:nvCxnSpPr>
          <p:cNvPr id="16" name="Conector recto 6">
            <a:extLst>
              <a:ext uri="{FF2B5EF4-FFF2-40B4-BE49-F238E27FC236}">
                <a16:creationId xmlns:a16="http://schemas.microsoft.com/office/drawing/2014/main" xmlns="" id="{44E23454-3D22-D949-A06F-05CAC511532C}"/>
              </a:ext>
            </a:extLst>
          </p:cNvPr>
          <p:cNvCxnSpPr/>
          <p:nvPr/>
        </p:nvCxnSpPr>
        <p:spPr>
          <a:xfrm>
            <a:off x="511867" y="363806"/>
            <a:ext cx="1629316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0" name="Título 30">
            <a:extLst>
              <a:ext uri="{FF2B5EF4-FFF2-40B4-BE49-F238E27FC236}">
                <a16:creationId xmlns:a16="http://schemas.microsoft.com/office/drawing/2014/main" xmlns="" id="{870499F0-B774-2E4F-9BF8-53E1C0B32CBC}"/>
              </a:ext>
            </a:extLst>
          </p:cNvPr>
          <p:cNvSpPr txBox="1">
            <a:spLocks/>
          </p:cNvSpPr>
          <p:nvPr/>
        </p:nvSpPr>
        <p:spPr>
          <a:xfrm>
            <a:off x="568550" y="719469"/>
            <a:ext cx="5433730" cy="46460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3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396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es-CL" sz="2000" kern="0" dirty="0">
                <a:solidFill>
                  <a:srgbClr val="15BF45"/>
                </a:solidFill>
                <a:latin typeface="ACHS Nueva Serif" pitchFamily="2" charset="77"/>
              </a:rPr>
              <a:t>Medidas preventivas en labores de moldaje</a:t>
            </a:r>
            <a:r>
              <a:rPr lang="es-CL" sz="2000" dirty="0">
                <a:solidFill>
                  <a:srgbClr val="00B050"/>
                </a:solidFill>
                <a:latin typeface="ACHS Nueva Serif" pitchFamily="2" charset="77"/>
              </a:rPr>
              <a:t/>
            </a:r>
            <a:br>
              <a:rPr lang="es-CL" sz="2000" dirty="0">
                <a:solidFill>
                  <a:srgbClr val="00B050"/>
                </a:solidFill>
                <a:latin typeface="ACHS Nueva Serif" pitchFamily="2" charset="77"/>
              </a:rPr>
            </a:br>
            <a:r>
              <a:rPr lang="es-CL" sz="2000" dirty="0">
                <a:solidFill>
                  <a:srgbClr val="0C662F"/>
                </a:solidFill>
                <a:latin typeface="ACHS Nueva Serif" pitchFamily="2" charset="77"/>
              </a:rPr>
              <a:t>Carpintero de moldaje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369875123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82230B0E-48FD-CC41-9229-F64C0454F167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83" t="12861" r="-283" b="40604"/>
          <a:stretch/>
        </p:blipFill>
        <p:spPr>
          <a:xfrm>
            <a:off x="4534417" y="1483199"/>
            <a:ext cx="7680870" cy="5374801"/>
          </a:xfrm>
          <a:prstGeom prst="rect">
            <a:avLst/>
          </a:prstGeom>
        </p:spPr>
      </p:pic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2004" y="1210"/>
          <a:ext cx="1210" cy="12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034" name="Diapositiva de think-cell" r:id="rId7" imgW="415" imgH="416" progId="TCLayout.ActiveDocument.1">
                  <p:embed/>
                </p:oleObj>
              </mc:Choice>
              <mc:Fallback>
                <p:oleObj name="Diapositiva de think-cell" r:id="rId7" imgW="415" imgH="416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004" y="1210"/>
                        <a:ext cx="1210" cy="121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Marcador de texto 31">
            <a:extLst>
              <a:ext uri="{FF2B5EF4-FFF2-40B4-BE49-F238E27FC236}">
                <a16:creationId xmlns:a16="http://schemas.microsoft.com/office/drawing/2014/main" xmlns="" id="{B6ACD75E-4AAC-F04C-B145-A63622FDB6CE}"/>
              </a:ext>
            </a:extLst>
          </p:cNvPr>
          <p:cNvSpPr txBox="1">
            <a:spLocks/>
          </p:cNvSpPr>
          <p:nvPr/>
        </p:nvSpPr>
        <p:spPr>
          <a:xfrm>
            <a:off x="568550" y="1468228"/>
            <a:ext cx="3584028" cy="5201132"/>
          </a:xfrm>
          <a:prstGeom prst="rect">
            <a:avLst/>
          </a:prstGeom>
        </p:spPr>
        <p:txBody>
          <a:bodyPr>
            <a:norm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None/>
              <a:defRPr/>
            </a:pPr>
            <a:r>
              <a:rPr lang="es-CL" sz="1800" kern="0" dirty="0">
                <a:solidFill>
                  <a:srgbClr val="15BF45"/>
                </a:solidFill>
                <a:latin typeface="ACHS Nueva Serif" pitchFamily="2" charset="77"/>
              </a:rPr>
              <a:t>Uso de escalas:</a:t>
            </a:r>
          </a:p>
          <a:p>
            <a:pPr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Font typeface="Arial" panose="020B0604020202020204" pitchFamily="34" charset="0"/>
              <a:buChar char="•"/>
              <a:defRPr/>
            </a:pPr>
            <a:endParaRPr lang="es-CL" altLang="es-CL" sz="1500" dirty="0">
              <a:latin typeface="ACHS Nueva Sans Medium" pitchFamily="2" charset="77"/>
            </a:endParaRPr>
          </a:p>
          <a:p>
            <a:pPr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Font typeface="Arial" panose="020B0604020202020204" pitchFamily="34" charset="0"/>
              <a:buChar char="•"/>
              <a:defRPr/>
            </a:pPr>
            <a:r>
              <a:rPr lang="es-CL" altLang="es-CL" sz="1500" dirty="0">
                <a:latin typeface="ACHS Nueva Sans Medium" pitchFamily="2" charset="77"/>
              </a:rPr>
              <a:t>Se distinguen 2 tipos más usados en el rubro construcción: de madera y metálicas.</a:t>
            </a:r>
          </a:p>
          <a:p>
            <a:pPr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Font typeface="Arial" panose="020B0604020202020204" pitchFamily="34" charset="0"/>
              <a:buChar char="•"/>
              <a:defRPr/>
            </a:pPr>
            <a:endParaRPr lang="es-CL" altLang="es-CL" sz="1500" dirty="0">
              <a:latin typeface="ACHS Nueva Sans Medium" pitchFamily="2" charset="77"/>
            </a:endParaRPr>
          </a:p>
          <a:p>
            <a:pPr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Font typeface="Arial" panose="020B0604020202020204" pitchFamily="34" charset="0"/>
              <a:buChar char="•"/>
              <a:defRPr/>
            </a:pPr>
            <a:r>
              <a:rPr lang="es-CL" altLang="es-CL" sz="1500" dirty="0">
                <a:latin typeface="ACHS Nueva Sans Medium" pitchFamily="2" charset="77"/>
              </a:rPr>
              <a:t>Deben afianzarse en su punto superior y/o inferior para evitar su desplazamiento.</a:t>
            </a:r>
          </a:p>
          <a:p>
            <a:pPr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Font typeface="Arial" panose="020B0604020202020204" pitchFamily="34" charset="0"/>
              <a:buChar char="•"/>
              <a:defRPr/>
            </a:pPr>
            <a:endParaRPr lang="es-CL" altLang="es-CL" sz="1500" dirty="0">
              <a:latin typeface="ACHS Nueva Sans Medium" pitchFamily="2" charset="77"/>
            </a:endParaRPr>
          </a:p>
          <a:p>
            <a:pPr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Font typeface="Arial" panose="020B0604020202020204" pitchFamily="34" charset="0"/>
              <a:buChar char="•"/>
              <a:defRPr/>
            </a:pPr>
            <a:r>
              <a:rPr lang="es-CL" altLang="es-CL" sz="1500" dirty="0">
                <a:latin typeface="ACHS Nueva Sans Medium" pitchFamily="2" charset="77"/>
              </a:rPr>
              <a:t>Deben sobrepasar 1m del lugar donde se quiere llegar.</a:t>
            </a:r>
          </a:p>
          <a:p>
            <a:pPr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Font typeface="Arial" panose="020B0604020202020204" pitchFamily="34" charset="0"/>
              <a:buChar char="•"/>
              <a:defRPr/>
            </a:pPr>
            <a:endParaRPr lang="es-CL" altLang="es-CL" sz="1500" dirty="0">
              <a:latin typeface="ACHS Nueva Sans Medium" pitchFamily="2" charset="77"/>
            </a:endParaRPr>
          </a:p>
          <a:p>
            <a:pPr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Font typeface="Arial" panose="020B0604020202020204" pitchFamily="34" charset="0"/>
              <a:buChar char="•"/>
              <a:defRPr/>
            </a:pPr>
            <a:r>
              <a:rPr lang="es-MX" altLang="es-CL" sz="1500" dirty="0">
                <a:latin typeface="ACHS Nueva Sans Medium" pitchFamily="2" charset="77"/>
              </a:rPr>
              <a:t>No subir 2 personas al                     mismo tiempo.</a:t>
            </a:r>
          </a:p>
          <a:p>
            <a:pPr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Font typeface="Arial" panose="020B0604020202020204" pitchFamily="34" charset="0"/>
              <a:buChar char="•"/>
              <a:defRPr/>
            </a:pPr>
            <a:endParaRPr lang="es-MX" altLang="es-CL" sz="1500" dirty="0">
              <a:latin typeface="ACHS Nueva Sans Medium" pitchFamily="2" charset="77"/>
            </a:endParaRPr>
          </a:p>
          <a:p>
            <a:pPr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Font typeface="Arial" panose="020B0604020202020204" pitchFamily="34" charset="0"/>
              <a:buChar char="•"/>
              <a:defRPr/>
            </a:pPr>
            <a:r>
              <a:rPr lang="es-ES" altLang="es-CL" sz="1500" dirty="0">
                <a:latin typeface="ACHS Nueva Sans Medium" pitchFamily="2" charset="77"/>
              </a:rPr>
              <a:t>No subir o bajar con las                manos ocupadas.</a:t>
            </a:r>
            <a:endParaRPr lang="es-CL" altLang="es-CL" sz="1500" dirty="0"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None/>
            </a:pPr>
            <a:endParaRPr lang="es-CL" altLang="es-CL" sz="1600" dirty="0">
              <a:latin typeface="ACHS Nueva Sans Medium" pitchFamily="2" charset="77"/>
            </a:endParaRPr>
          </a:p>
          <a:p>
            <a:pPr algn="just">
              <a:lnSpc>
                <a:spcPct val="100000"/>
              </a:lnSpc>
              <a:spcBef>
                <a:spcPts val="914"/>
              </a:spcBef>
              <a:buClr>
                <a:srgbClr val="83B827"/>
              </a:buClr>
              <a:buSzPct val="100000"/>
              <a:buFont typeface="Arial" panose="020B0604020202020204" pitchFamily="34" charset="0"/>
              <a:buChar char="•"/>
            </a:pPr>
            <a:endParaRPr lang="es-CL" altLang="es-CL" sz="1676" kern="0" dirty="0">
              <a:solidFill>
                <a:srgbClr val="8A8A8A">
                  <a:lumMod val="75000"/>
                </a:srgbClr>
              </a:solidFill>
            </a:endParaRPr>
          </a:p>
        </p:txBody>
      </p:sp>
      <p:pic>
        <p:nvPicPr>
          <p:cNvPr id="17" name="Imagen 5">
            <a:extLst>
              <a:ext uri="{FF2B5EF4-FFF2-40B4-BE49-F238E27FC236}">
                <a16:creationId xmlns:a16="http://schemas.microsoft.com/office/drawing/2014/main" xmlns="" id="{EE7ACE2E-0986-1448-B184-58348C68BCD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56681" y="497023"/>
            <a:ext cx="1239794" cy="506480"/>
          </a:xfrm>
          <a:prstGeom prst="rect">
            <a:avLst/>
          </a:prstGeom>
        </p:spPr>
      </p:pic>
      <p:cxnSp>
        <p:nvCxnSpPr>
          <p:cNvPr id="19" name="Conector recto 6">
            <a:extLst>
              <a:ext uri="{FF2B5EF4-FFF2-40B4-BE49-F238E27FC236}">
                <a16:creationId xmlns:a16="http://schemas.microsoft.com/office/drawing/2014/main" xmlns="" id="{9AD4F175-93D4-E34A-B7B1-F7B027C361D1}"/>
              </a:ext>
            </a:extLst>
          </p:cNvPr>
          <p:cNvCxnSpPr/>
          <p:nvPr/>
        </p:nvCxnSpPr>
        <p:spPr>
          <a:xfrm>
            <a:off x="511867" y="363806"/>
            <a:ext cx="1629316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0" name="Título 30">
            <a:extLst>
              <a:ext uri="{FF2B5EF4-FFF2-40B4-BE49-F238E27FC236}">
                <a16:creationId xmlns:a16="http://schemas.microsoft.com/office/drawing/2014/main" xmlns="" id="{90B3E7AB-3D13-0E41-9B1A-547A434FF7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550" y="719469"/>
            <a:ext cx="5433730" cy="464608"/>
          </a:xfrm>
        </p:spPr>
        <p:txBody>
          <a:bodyPr vert="horz">
            <a:normAutofit fontScale="90000"/>
          </a:bodyPr>
          <a:lstStyle/>
          <a:p>
            <a:pPr>
              <a:lnSpc>
                <a:spcPct val="100000"/>
              </a:lnSpc>
            </a:pPr>
            <a:r>
              <a:rPr lang="es-CL" sz="2200" kern="0" dirty="0">
                <a:solidFill>
                  <a:srgbClr val="15BF45"/>
                </a:solidFill>
                <a:latin typeface="ACHS Nueva Serif" pitchFamily="2" charset="77"/>
              </a:rPr>
              <a:t>Medidas preventivas en el uso de escalas</a:t>
            </a:r>
            <a:r>
              <a:rPr lang="es-CL" sz="2200" dirty="0">
                <a:solidFill>
                  <a:srgbClr val="00B050"/>
                </a:solidFill>
                <a:latin typeface="ACHS Nueva Serif" pitchFamily="2" charset="77"/>
              </a:rPr>
              <a:t/>
            </a:r>
            <a:br>
              <a:rPr lang="es-CL" sz="2200" dirty="0">
                <a:solidFill>
                  <a:srgbClr val="00B050"/>
                </a:solidFill>
                <a:latin typeface="ACHS Nueva Serif" pitchFamily="2" charset="77"/>
              </a:rPr>
            </a:br>
            <a:r>
              <a:rPr lang="es-CL" sz="2200" dirty="0">
                <a:solidFill>
                  <a:srgbClr val="0C662F"/>
                </a:solidFill>
                <a:latin typeface="ACHS Nueva Serif" pitchFamily="2" charset="77"/>
              </a:rPr>
              <a:t>Carpintero de moldaje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21825332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82230B0E-48FD-CC41-9229-F64C0454F167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83" t="12861" r="-283" b="40604"/>
          <a:stretch/>
        </p:blipFill>
        <p:spPr>
          <a:xfrm>
            <a:off x="4534417" y="1483199"/>
            <a:ext cx="7680870" cy="5374801"/>
          </a:xfrm>
          <a:prstGeom prst="rect">
            <a:avLst/>
          </a:prstGeom>
        </p:spPr>
      </p:pic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2004" y="1210"/>
          <a:ext cx="1210" cy="12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9056" name="Diapositiva de think-cell" r:id="rId7" imgW="415" imgH="416" progId="TCLayout.ActiveDocument.1">
                  <p:embed/>
                </p:oleObj>
              </mc:Choice>
              <mc:Fallback>
                <p:oleObj name="Diapositiva de think-cell" r:id="rId7" imgW="415" imgH="416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004" y="1210"/>
                        <a:ext cx="1210" cy="121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Marcador de texto 31">
            <a:extLst>
              <a:ext uri="{FF2B5EF4-FFF2-40B4-BE49-F238E27FC236}">
                <a16:creationId xmlns:a16="http://schemas.microsoft.com/office/drawing/2014/main" xmlns="" id="{B6ACD75E-4AAC-F04C-B145-A63622FDB6CE}"/>
              </a:ext>
            </a:extLst>
          </p:cNvPr>
          <p:cNvSpPr txBox="1">
            <a:spLocks/>
          </p:cNvSpPr>
          <p:nvPr/>
        </p:nvSpPr>
        <p:spPr>
          <a:xfrm>
            <a:off x="568550" y="1468228"/>
            <a:ext cx="3728044" cy="5201132"/>
          </a:xfrm>
          <a:prstGeom prst="rect">
            <a:avLst/>
          </a:prstGeom>
        </p:spPr>
        <p:txBody>
          <a:bodyPr>
            <a:norm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Font typeface="Arial" panose="020B0604020202020204" pitchFamily="34" charset="0"/>
              <a:buChar char="•"/>
              <a:defRPr/>
            </a:pPr>
            <a:r>
              <a:rPr lang="es-MX" altLang="es-CL" sz="1500" dirty="0">
                <a:latin typeface="ACHS Nueva Sans Medium" pitchFamily="2" charset="77"/>
              </a:rPr>
              <a:t>Subir herramientas en cinturón portaherramientas o izar en                     un balde.</a:t>
            </a:r>
          </a:p>
          <a:p>
            <a:pPr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Font typeface="Arial" panose="020B0604020202020204" pitchFamily="34" charset="0"/>
              <a:buChar char="•"/>
              <a:defRPr/>
            </a:pPr>
            <a:endParaRPr lang="es-MX" altLang="es-CL" sz="1500" dirty="0">
              <a:latin typeface="ACHS Nueva Sans Medium" pitchFamily="2" charset="77"/>
            </a:endParaRPr>
          </a:p>
          <a:p>
            <a:pPr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Font typeface="Arial" panose="020B0604020202020204" pitchFamily="34" charset="0"/>
              <a:buChar char="•"/>
              <a:defRPr/>
            </a:pPr>
            <a:r>
              <a:rPr lang="es-ES" altLang="es-CL" sz="1500" dirty="0">
                <a:latin typeface="ACHS Nueva Sans Medium" pitchFamily="2" charset="77"/>
              </a:rPr>
              <a:t>Bajar de frente a ellas.</a:t>
            </a:r>
          </a:p>
          <a:p>
            <a:pPr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Font typeface="Arial" panose="020B0604020202020204" pitchFamily="34" charset="0"/>
              <a:buChar char="•"/>
              <a:defRPr/>
            </a:pPr>
            <a:endParaRPr lang="es-ES" altLang="es-CL" sz="1500" dirty="0">
              <a:latin typeface="ACHS Nueva Sans Medium" pitchFamily="2" charset="77"/>
            </a:endParaRPr>
          </a:p>
          <a:p>
            <a:pPr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Font typeface="Arial" panose="020B0604020202020204" pitchFamily="34" charset="0"/>
              <a:buChar char="•"/>
              <a:defRPr/>
            </a:pPr>
            <a:r>
              <a:rPr lang="es-ES" altLang="es-CL" sz="1500" dirty="0">
                <a:latin typeface="ACHS Nueva Sans Medium" pitchFamily="2" charset="77"/>
              </a:rPr>
              <a:t>Mantener inclinación adecuada.</a:t>
            </a:r>
          </a:p>
          <a:p>
            <a:pPr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Font typeface="Arial" panose="020B0604020202020204" pitchFamily="34" charset="0"/>
              <a:buChar char="•"/>
              <a:defRPr/>
            </a:pPr>
            <a:endParaRPr lang="es-ES" altLang="es-CL" sz="1500" dirty="0">
              <a:latin typeface="ACHS Nueva Sans Medium" pitchFamily="2" charset="77"/>
            </a:endParaRPr>
          </a:p>
          <a:p>
            <a:pPr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Font typeface="Arial" panose="020B0604020202020204" pitchFamily="34" charset="0"/>
              <a:buChar char="•"/>
              <a:defRPr/>
            </a:pPr>
            <a:r>
              <a:rPr lang="es-CL" altLang="es-CL" sz="1500" dirty="0">
                <a:latin typeface="ACHS Nueva Sans Medium" pitchFamily="2" charset="77"/>
              </a:rPr>
              <a:t>En las escalas de madera, los travesaños no tendrán nudos.</a:t>
            </a:r>
          </a:p>
          <a:p>
            <a:pPr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Font typeface="Arial" panose="020B0604020202020204" pitchFamily="34" charset="0"/>
              <a:buChar char="•"/>
              <a:defRPr/>
            </a:pPr>
            <a:endParaRPr lang="es-CL" altLang="es-CL" sz="1500" dirty="0">
              <a:latin typeface="ACHS Nueva Sans Medium" pitchFamily="2" charset="77"/>
            </a:endParaRPr>
          </a:p>
          <a:p>
            <a:pPr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Font typeface="Arial" panose="020B0604020202020204" pitchFamily="34" charset="0"/>
              <a:buChar char="•"/>
              <a:defRPr/>
            </a:pPr>
            <a:r>
              <a:rPr lang="es-CL" altLang="es-CL" sz="1500" dirty="0">
                <a:latin typeface="ACHS Nueva Sans Medium" pitchFamily="2" charset="77"/>
              </a:rPr>
              <a:t>Las escalas metálicas </a:t>
            </a:r>
            <a:r>
              <a:rPr lang="es-MX" altLang="es-CL" sz="1500" dirty="0">
                <a:latin typeface="ACHS Nueva Sans Medium" pitchFamily="2" charset="77"/>
              </a:rPr>
              <a:t> no deben presentar abolladuras, deformaciones o fisuras.</a:t>
            </a:r>
          </a:p>
          <a:p>
            <a:pPr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Font typeface="Arial" panose="020B0604020202020204" pitchFamily="34" charset="0"/>
              <a:buChar char="•"/>
              <a:defRPr/>
            </a:pPr>
            <a:endParaRPr lang="es-MX" altLang="es-CL" sz="1500" dirty="0">
              <a:latin typeface="ACHS Nueva Sans Medium" pitchFamily="2" charset="77"/>
            </a:endParaRPr>
          </a:p>
          <a:p>
            <a:pPr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Font typeface="Arial" panose="020B0604020202020204" pitchFamily="34" charset="0"/>
              <a:buChar char="•"/>
              <a:defRPr/>
            </a:pPr>
            <a:r>
              <a:rPr lang="es-CL" altLang="es-CL" sz="1500" dirty="0">
                <a:latin typeface="ACHS Nueva Sans Medium" pitchFamily="2" charset="77"/>
              </a:rPr>
              <a:t>Apoyar sobre suelos estables, contra una superficie sólida y fija, de forma que no se pueda resbalar.</a:t>
            </a:r>
          </a:p>
          <a:p>
            <a:pPr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Font typeface="Arial" panose="020B0604020202020204" pitchFamily="34" charset="0"/>
              <a:buChar char="•"/>
              <a:defRPr/>
            </a:pPr>
            <a:endParaRPr lang="es-CL" altLang="es-CL" sz="1500" dirty="0"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None/>
            </a:pPr>
            <a:endParaRPr lang="es-CL" altLang="es-CL" sz="1500" dirty="0">
              <a:latin typeface="ACHS Nueva Sans Medium" pitchFamily="2" charset="77"/>
            </a:endParaRPr>
          </a:p>
          <a:p>
            <a:pPr algn="just">
              <a:lnSpc>
                <a:spcPct val="100000"/>
              </a:lnSpc>
              <a:spcBef>
                <a:spcPts val="914"/>
              </a:spcBef>
              <a:buClr>
                <a:srgbClr val="83B827"/>
              </a:buClr>
              <a:buSzPct val="100000"/>
              <a:buFont typeface="Arial" panose="020B0604020202020204" pitchFamily="34" charset="0"/>
              <a:buChar char="•"/>
            </a:pPr>
            <a:endParaRPr lang="es-CL" altLang="es-CL" sz="1500" kern="0" dirty="0">
              <a:solidFill>
                <a:srgbClr val="8A8A8A">
                  <a:lumMod val="75000"/>
                </a:srgbClr>
              </a:solidFill>
            </a:endParaRPr>
          </a:p>
        </p:txBody>
      </p:sp>
      <p:pic>
        <p:nvPicPr>
          <p:cNvPr id="17" name="Imagen 5">
            <a:extLst>
              <a:ext uri="{FF2B5EF4-FFF2-40B4-BE49-F238E27FC236}">
                <a16:creationId xmlns:a16="http://schemas.microsoft.com/office/drawing/2014/main" xmlns="" id="{EE7ACE2E-0986-1448-B184-58348C68BCD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56681" y="497023"/>
            <a:ext cx="1239794" cy="506480"/>
          </a:xfrm>
          <a:prstGeom prst="rect">
            <a:avLst/>
          </a:prstGeom>
        </p:spPr>
      </p:pic>
      <p:cxnSp>
        <p:nvCxnSpPr>
          <p:cNvPr id="19" name="Conector recto 6">
            <a:extLst>
              <a:ext uri="{FF2B5EF4-FFF2-40B4-BE49-F238E27FC236}">
                <a16:creationId xmlns:a16="http://schemas.microsoft.com/office/drawing/2014/main" xmlns="" id="{9AD4F175-93D4-E34A-B7B1-F7B027C361D1}"/>
              </a:ext>
            </a:extLst>
          </p:cNvPr>
          <p:cNvCxnSpPr/>
          <p:nvPr/>
        </p:nvCxnSpPr>
        <p:spPr>
          <a:xfrm>
            <a:off x="511867" y="363806"/>
            <a:ext cx="1629316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0" name="Título 30">
            <a:extLst>
              <a:ext uri="{FF2B5EF4-FFF2-40B4-BE49-F238E27FC236}">
                <a16:creationId xmlns:a16="http://schemas.microsoft.com/office/drawing/2014/main" xmlns="" id="{90B3E7AB-3D13-0E41-9B1A-547A434FF7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550" y="719469"/>
            <a:ext cx="5433730" cy="464608"/>
          </a:xfrm>
        </p:spPr>
        <p:txBody>
          <a:bodyPr vert="horz">
            <a:normAutofit fontScale="90000"/>
          </a:bodyPr>
          <a:lstStyle/>
          <a:p>
            <a:pPr>
              <a:lnSpc>
                <a:spcPct val="100000"/>
              </a:lnSpc>
            </a:pPr>
            <a:r>
              <a:rPr lang="es-CL" sz="2200" kern="0" dirty="0">
                <a:solidFill>
                  <a:srgbClr val="15BF45"/>
                </a:solidFill>
                <a:latin typeface="ACHS Nueva Serif" pitchFamily="2" charset="77"/>
              </a:rPr>
              <a:t>Medidas preventivas en el uso de escalas</a:t>
            </a:r>
            <a:r>
              <a:rPr lang="es-CL" sz="2200" dirty="0">
                <a:solidFill>
                  <a:srgbClr val="00B050"/>
                </a:solidFill>
                <a:latin typeface="ACHS Nueva Serif" pitchFamily="2" charset="77"/>
              </a:rPr>
              <a:t/>
            </a:r>
            <a:br>
              <a:rPr lang="es-CL" sz="2200" dirty="0">
                <a:solidFill>
                  <a:srgbClr val="00B050"/>
                </a:solidFill>
                <a:latin typeface="ACHS Nueva Serif" pitchFamily="2" charset="77"/>
              </a:rPr>
            </a:br>
            <a:r>
              <a:rPr lang="es-CL" sz="2200" dirty="0">
                <a:solidFill>
                  <a:srgbClr val="0C662F"/>
                </a:solidFill>
                <a:latin typeface="ACHS Nueva Serif" pitchFamily="2" charset="77"/>
              </a:rPr>
              <a:t>Carpintero de moldaje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256845276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34418" y="1506550"/>
            <a:ext cx="7663432" cy="5378834"/>
          </a:xfrm>
          <a:prstGeom prst="rect">
            <a:avLst/>
          </a:prstGeom>
        </p:spPr>
      </p:pic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532053143"/>
              </p:ext>
            </p:extLst>
          </p:nvPr>
        </p:nvGraphicFramePr>
        <p:xfrm>
          <a:off x="2004" y="1210"/>
          <a:ext cx="1210" cy="12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4027" name="Diapositiva de think-cell" r:id="rId7" imgW="415" imgH="416" progId="TCLayout.ActiveDocument.1">
                  <p:embed/>
                </p:oleObj>
              </mc:Choice>
              <mc:Fallback>
                <p:oleObj name="Diapositiva de think-cell" r:id="rId7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004" y="1210"/>
                        <a:ext cx="1210" cy="121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Marcador de texto 31">
            <a:extLst>
              <a:ext uri="{FF2B5EF4-FFF2-40B4-BE49-F238E27FC236}">
                <a16:creationId xmlns:a16="http://schemas.microsoft.com/office/drawing/2014/main" xmlns="" id="{897381C0-1A32-D646-BDB5-65C65F9ECEEA}"/>
              </a:ext>
            </a:extLst>
          </p:cNvPr>
          <p:cNvSpPr txBox="1">
            <a:spLocks/>
          </p:cNvSpPr>
          <p:nvPr/>
        </p:nvSpPr>
        <p:spPr>
          <a:xfrm>
            <a:off x="568550" y="1468228"/>
            <a:ext cx="3433449" cy="5201132"/>
          </a:xfrm>
          <a:prstGeom prst="rect">
            <a:avLst/>
          </a:prstGeom>
        </p:spPr>
        <p:txBody>
          <a:bodyPr>
            <a:norm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None/>
              <a:defRPr/>
            </a:pPr>
            <a:r>
              <a:rPr lang="es-CL" altLang="es-CL" sz="1600" dirty="0">
                <a:solidFill>
                  <a:schemeClr val="tx1"/>
                </a:solidFill>
                <a:latin typeface="ACHS Nueva Sans Medium" pitchFamily="2" charset="77"/>
              </a:rPr>
              <a:t>Se recomienda cubrir completamente el shaft con estructuras resistentes y fijas, para evitar desplazamientos.</a:t>
            </a:r>
          </a:p>
          <a:p>
            <a:pPr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Font typeface="Arial" panose="020B0604020202020204" pitchFamily="34" charset="0"/>
              <a:buChar char="•"/>
              <a:defRPr/>
            </a:pPr>
            <a:endParaRPr lang="es-CL" altLang="es-CL" sz="160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None/>
              <a:defRPr/>
            </a:pPr>
            <a:r>
              <a:rPr lang="es-CL" altLang="es-CL" sz="1600" dirty="0">
                <a:solidFill>
                  <a:schemeClr val="tx1"/>
                </a:solidFill>
                <a:latin typeface="ACHS Nueva Sans Medium" pitchFamily="2" charset="77"/>
              </a:rPr>
              <a:t>Las cubiertas de shaft no deben ser usadas como zonas de acopio                   de materiales.</a:t>
            </a:r>
          </a:p>
          <a:p>
            <a:pPr marL="0" indent="0"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None/>
              <a:defRPr/>
            </a:pPr>
            <a:endParaRPr lang="es-CL" altLang="es-CL" sz="1600" dirty="0"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None/>
            </a:pPr>
            <a:endParaRPr lang="es-CL" altLang="es-CL" sz="1600" dirty="0">
              <a:latin typeface="ACHS Nueva Sans Medium" pitchFamily="2" charset="77"/>
            </a:endParaRPr>
          </a:p>
          <a:p>
            <a:pPr algn="just">
              <a:lnSpc>
                <a:spcPct val="100000"/>
              </a:lnSpc>
              <a:spcBef>
                <a:spcPts val="914"/>
              </a:spcBef>
              <a:buClr>
                <a:srgbClr val="83B827"/>
              </a:buClr>
              <a:buSzPct val="100000"/>
              <a:buFont typeface="Arial" panose="020B0604020202020204" pitchFamily="34" charset="0"/>
              <a:buChar char="•"/>
            </a:pPr>
            <a:endParaRPr lang="es-CL" altLang="es-CL" sz="1600" kern="0" dirty="0">
              <a:solidFill>
                <a:srgbClr val="8A8A8A">
                  <a:lumMod val="75000"/>
                </a:srgbClr>
              </a:solidFill>
            </a:endParaRPr>
          </a:p>
        </p:txBody>
      </p:sp>
      <p:pic>
        <p:nvPicPr>
          <p:cNvPr id="14" name="Imagen 5">
            <a:extLst>
              <a:ext uri="{FF2B5EF4-FFF2-40B4-BE49-F238E27FC236}">
                <a16:creationId xmlns:a16="http://schemas.microsoft.com/office/drawing/2014/main" xmlns="" id="{C38A8D1C-8461-2E4C-B67E-3D10F5B86A0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56681" y="497023"/>
            <a:ext cx="1239794" cy="506480"/>
          </a:xfrm>
          <a:prstGeom prst="rect">
            <a:avLst/>
          </a:prstGeom>
        </p:spPr>
      </p:pic>
      <p:cxnSp>
        <p:nvCxnSpPr>
          <p:cNvPr id="16" name="Conector recto 6">
            <a:extLst>
              <a:ext uri="{FF2B5EF4-FFF2-40B4-BE49-F238E27FC236}">
                <a16:creationId xmlns:a16="http://schemas.microsoft.com/office/drawing/2014/main" xmlns="" id="{8EDC9C9D-04ED-E04B-8F08-F358FD6A8CDA}"/>
              </a:ext>
            </a:extLst>
          </p:cNvPr>
          <p:cNvCxnSpPr/>
          <p:nvPr/>
        </p:nvCxnSpPr>
        <p:spPr>
          <a:xfrm>
            <a:off x="511867" y="363806"/>
            <a:ext cx="1629316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7" name="Título 30">
            <a:extLst>
              <a:ext uri="{FF2B5EF4-FFF2-40B4-BE49-F238E27FC236}">
                <a16:creationId xmlns:a16="http://schemas.microsoft.com/office/drawing/2014/main" xmlns="" id="{ABBC8B39-0C9F-6842-9CC2-2424FA6570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550" y="719469"/>
            <a:ext cx="5433730" cy="464608"/>
          </a:xfrm>
        </p:spPr>
        <p:txBody>
          <a:bodyPr vert="horz">
            <a:normAutofit fontScale="90000"/>
          </a:bodyPr>
          <a:lstStyle/>
          <a:p>
            <a:pPr>
              <a:lnSpc>
                <a:spcPct val="100000"/>
              </a:lnSpc>
            </a:pPr>
            <a:r>
              <a:rPr lang="es-CL" sz="2200" kern="0" dirty="0">
                <a:solidFill>
                  <a:srgbClr val="15BF45"/>
                </a:solidFill>
                <a:latin typeface="ACHS Nueva Serif" pitchFamily="2" charset="77"/>
              </a:rPr>
              <a:t>Medidas preventivas al borde de shaft</a:t>
            </a:r>
            <a:r>
              <a:rPr lang="es-CL" sz="2200" dirty="0">
                <a:solidFill>
                  <a:srgbClr val="00B050"/>
                </a:solidFill>
                <a:latin typeface="ACHS Nueva Serif" pitchFamily="2" charset="77"/>
              </a:rPr>
              <a:t/>
            </a:r>
            <a:br>
              <a:rPr lang="es-CL" sz="2200" dirty="0">
                <a:solidFill>
                  <a:srgbClr val="00B050"/>
                </a:solidFill>
                <a:latin typeface="ACHS Nueva Serif" pitchFamily="2" charset="77"/>
              </a:rPr>
            </a:br>
            <a:r>
              <a:rPr lang="es-CL" sz="2200" dirty="0">
                <a:solidFill>
                  <a:srgbClr val="0C662F"/>
                </a:solidFill>
                <a:latin typeface="ACHS Nueva Serif" pitchFamily="2" charset="77"/>
              </a:rPr>
              <a:t>Carpintero de moldaje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004404643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905261068"/>
              </p:ext>
            </p:extLst>
          </p:nvPr>
        </p:nvGraphicFramePr>
        <p:xfrm>
          <a:off x="2004" y="1210"/>
          <a:ext cx="1210" cy="12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5051" name="Diapositiva de think-cell" r:id="rId6" imgW="415" imgH="416" progId="TCLayout.ActiveDocument.1">
                  <p:embed/>
                </p:oleObj>
              </mc:Choice>
              <mc:Fallback>
                <p:oleObj name="Diapositiva de think-cell" r:id="rId6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004" y="1210"/>
                        <a:ext cx="1210" cy="121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Imagen 9"/>
          <p:cNvPicPr>
            <a:picLocks noChangeAspect="1"/>
          </p:cNvPicPr>
          <p:nvPr/>
        </p:nvPicPr>
        <p:blipFill rotWithShape="1">
          <a:blip r:embed="rId8"/>
          <a:srcRect l="151" r="20097"/>
          <a:stretch/>
        </p:blipFill>
        <p:spPr>
          <a:xfrm>
            <a:off x="4530156" y="1506550"/>
            <a:ext cx="7663432" cy="5405201"/>
          </a:xfrm>
          <a:prstGeom prst="rect">
            <a:avLst/>
          </a:prstGeom>
        </p:spPr>
      </p:pic>
      <p:sp>
        <p:nvSpPr>
          <p:cNvPr id="13" name="Marcador de texto 31">
            <a:extLst>
              <a:ext uri="{FF2B5EF4-FFF2-40B4-BE49-F238E27FC236}">
                <a16:creationId xmlns:a16="http://schemas.microsoft.com/office/drawing/2014/main" xmlns="" id="{A9B2190B-5FAE-BE46-AA33-73D18D7A8084}"/>
              </a:ext>
            </a:extLst>
          </p:cNvPr>
          <p:cNvSpPr txBox="1">
            <a:spLocks/>
          </p:cNvSpPr>
          <p:nvPr/>
        </p:nvSpPr>
        <p:spPr>
          <a:xfrm>
            <a:off x="568550" y="1468228"/>
            <a:ext cx="3433449" cy="5201132"/>
          </a:xfrm>
          <a:prstGeom prst="rect">
            <a:avLst/>
          </a:prstGeom>
        </p:spPr>
        <p:txBody>
          <a:bodyPr>
            <a:norm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Font typeface="Arial" panose="020B0604020202020204" pitchFamily="34" charset="0"/>
              <a:buChar char="•"/>
              <a:defRPr/>
            </a:pPr>
            <a:r>
              <a:rPr lang="es-CL" altLang="es-CL" sz="1500" dirty="0">
                <a:latin typeface="ACHS Nueva Sans Medium" pitchFamily="2" charset="77"/>
              </a:rPr>
              <a:t>Deben ser protegidos con doble barandas y rodapiés.</a:t>
            </a:r>
          </a:p>
          <a:p>
            <a:pPr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Font typeface="Arial" panose="020B0604020202020204" pitchFamily="34" charset="0"/>
              <a:buChar char="•"/>
              <a:defRPr/>
            </a:pPr>
            <a:endParaRPr lang="es-CL" altLang="es-CL" sz="1500" dirty="0">
              <a:latin typeface="ACHS Nueva Sans Medium" pitchFamily="2" charset="77"/>
            </a:endParaRPr>
          </a:p>
          <a:p>
            <a:pPr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Font typeface="Arial" panose="020B0604020202020204" pitchFamily="34" charset="0"/>
              <a:buChar char="•"/>
              <a:defRPr/>
            </a:pPr>
            <a:r>
              <a:rPr lang="es-CL" altLang="es-CL" sz="1500" dirty="0">
                <a:latin typeface="ACHS Nueva Sans Medium" pitchFamily="2" charset="77"/>
              </a:rPr>
              <a:t>Señalizar la existencia del vano y el riesgo de caída de altura.</a:t>
            </a:r>
          </a:p>
          <a:p>
            <a:pPr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Font typeface="Arial" panose="020B0604020202020204" pitchFamily="34" charset="0"/>
              <a:buChar char="•"/>
              <a:defRPr/>
            </a:pPr>
            <a:endParaRPr lang="es-CL" altLang="es-CL" sz="1500" dirty="0">
              <a:latin typeface="ACHS Nueva Sans Medium" pitchFamily="2" charset="77"/>
            </a:endParaRPr>
          </a:p>
          <a:p>
            <a:pPr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Font typeface="Arial" panose="020B0604020202020204" pitchFamily="34" charset="0"/>
              <a:buChar char="•"/>
              <a:defRPr/>
            </a:pPr>
            <a:r>
              <a:rPr lang="es-CL" altLang="es-CL" sz="1500" dirty="0">
                <a:latin typeface="ACHS Nueva Sans Medium" pitchFamily="2" charset="77"/>
              </a:rPr>
              <a:t>En caso de realizar trabajos sobre plataformas de trabajo al borde de vanos se debe instalar barandas de doble altura, considerando como nivel cero la plataforma de trabajo.</a:t>
            </a:r>
          </a:p>
          <a:p>
            <a:pPr marL="0" indent="0"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None/>
              <a:defRPr/>
            </a:pPr>
            <a:endParaRPr lang="es-CL" altLang="es-CL" sz="1600" dirty="0"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None/>
            </a:pPr>
            <a:endParaRPr lang="es-CL" altLang="es-CL" sz="1600" dirty="0">
              <a:latin typeface="ACHS Nueva Sans Medium" pitchFamily="2" charset="77"/>
            </a:endParaRPr>
          </a:p>
          <a:p>
            <a:pPr algn="just">
              <a:lnSpc>
                <a:spcPct val="100000"/>
              </a:lnSpc>
              <a:spcBef>
                <a:spcPts val="914"/>
              </a:spcBef>
              <a:buClr>
                <a:srgbClr val="83B827"/>
              </a:buClr>
              <a:buSzPct val="100000"/>
              <a:buFont typeface="Arial" panose="020B0604020202020204" pitchFamily="34" charset="0"/>
              <a:buChar char="•"/>
            </a:pPr>
            <a:endParaRPr lang="es-CL" altLang="es-CL" sz="1600" kern="0" dirty="0">
              <a:solidFill>
                <a:srgbClr val="8A8A8A">
                  <a:lumMod val="75000"/>
                </a:srgbClr>
              </a:solidFill>
            </a:endParaRPr>
          </a:p>
        </p:txBody>
      </p:sp>
      <p:pic>
        <p:nvPicPr>
          <p:cNvPr id="14" name="Imagen 5">
            <a:extLst>
              <a:ext uri="{FF2B5EF4-FFF2-40B4-BE49-F238E27FC236}">
                <a16:creationId xmlns:a16="http://schemas.microsoft.com/office/drawing/2014/main" xmlns="" id="{EE551AC3-FDF4-6346-95C9-B0887CCB569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56681" y="497023"/>
            <a:ext cx="1239794" cy="506480"/>
          </a:xfrm>
          <a:prstGeom prst="rect">
            <a:avLst/>
          </a:prstGeom>
        </p:spPr>
      </p:pic>
      <p:cxnSp>
        <p:nvCxnSpPr>
          <p:cNvPr id="16" name="Conector recto 6">
            <a:extLst>
              <a:ext uri="{FF2B5EF4-FFF2-40B4-BE49-F238E27FC236}">
                <a16:creationId xmlns:a16="http://schemas.microsoft.com/office/drawing/2014/main" xmlns="" id="{71391E83-6E1E-DB49-A5DB-5823A86A92B8}"/>
              </a:ext>
            </a:extLst>
          </p:cNvPr>
          <p:cNvCxnSpPr/>
          <p:nvPr/>
        </p:nvCxnSpPr>
        <p:spPr>
          <a:xfrm>
            <a:off x="511867" y="363806"/>
            <a:ext cx="1629316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7" name="Título 30">
            <a:extLst>
              <a:ext uri="{FF2B5EF4-FFF2-40B4-BE49-F238E27FC236}">
                <a16:creationId xmlns:a16="http://schemas.microsoft.com/office/drawing/2014/main" xmlns="" id="{61E2C362-6511-0D4C-AC42-1CAEEFF235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550" y="719469"/>
            <a:ext cx="5433730" cy="464608"/>
          </a:xfrm>
        </p:spPr>
        <p:txBody>
          <a:bodyPr vert="horz">
            <a:normAutofit fontScale="90000"/>
          </a:bodyPr>
          <a:lstStyle/>
          <a:p>
            <a:pPr>
              <a:lnSpc>
                <a:spcPct val="100000"/>
              </a:lnSpc>
            </a:pPr>
            <a:r>
              <a:rPr lang="es-CL" sz="2200" kern="0" dirty="0">
                <a:solidFill>
                  <a:srgbClr val="15BF45"/>
                </a:solidFill>
                <a:latin typeface="ACHS Nueva Serif" pitchFamily="2" charset="77"/>
              </a:rPr>
              <a:t>Medidas preventivas al borde de vanos</a:t>
            </a:r>
            <a:r>
              <a:rPr lang="es-CL" sz="2200" dirty="0">
                <a:solidFill>
                  <a:srgbClr val="00B050"/>
                </a:solidFill>
                <a:latin typeface="ACHS Nueva Serif" pitchFamily="2" charset="77"/>
              </a:rPr>
              <a:t/>
            </a:r>
            <a:br>
              <a:rPr lang="es-CL" sz="2200" dirty="0">
                <a:solidFill>
                  <a:srgbClr val="00B050"/>
                </a:solidFill>
                <a:latin typeface="ACHS Nueva Serif" pitchFamily="2" charset="77"/>
              </a:rPr>
            </a:br>
            <a:r>
              <a:rPr lang="es-CL" sz="2200" dirty="0">
                <a:solidFill>
                  <a:srgbClr val="0C662F"/>
                </a:solidFill>
                <a:latin typeface="ACHS Nueva Serif" pitchFamily="2" charset="77"/>
              </a:rPr>
              <a:t>Carpintero de moldaje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609742865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2004" y="1210"/>
          <a:ext cx="1210" cy="12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75" name="Diapositiva de think-cell" r:id="rId6" imgW="415" imgH="416" progId="TCLayout.ActiveDocument.1">
                  <p:embed/>
                </p:oleObj>
              </mc:Choice>
              <mc:Fallback>
                <p:oleObj name="Diapositiva de think-cell" r:id="rId6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004" y="1210"/>
                        <a:ext cx="1210" cy="121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Marcador de texto 31">
            <a:extLst>
              <a:ext uri="{FF2B5EF4-FFF2-40B4-BE49-F238E27FC236}">
                <a16:creationId xmlns:a16="http://schemas.microsoft.com/office/drawing/2014/main" xmlns="" id="{8AE241CE-80C6-454A-B6D9-8D63D3CD744C}"/>
              </a:ext>
            </a:extLst>
          </p:cNvPr>
          <p:cNvSpPr txBox="1">
            <a:spLocks/>
          </p:cNvSpPr>
          <p:nvPr/>
        </p:nvSpPr>
        <p:spPr>
          <a:xfrm>
            <a:off x="568550" y="1468228"/>
            <a:ext cx="3433449" cy="7073340"/>
          </a:xfrm>
          <a:prstGeom prst="rect">
            <a:avLst/>
          </a:prstGeom>
        </p:spPr>
        <p:txBody>
          <a:bodyPr>
            <a:norm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Font typeface="Arial" panose="020B0604020202020204" pitchFamily="34" charset="0"/>
              <a:buChar char="•"/>
              <a:defRPr/>
            </a:pPr>
            <a:r>
              <a:rPr lang="es-CL" altLang="es-CL" sz="1500" dirty="0">
                <a:latin typeface="ACHS Nueva Sans Medium" pitchFamily="2" charset="77"/>
              </a:rPr>
              <a:t>Planificar el trabajo en detalle.</a:t>
            </a:r>
          </a:p>
          <a:p>
            <a:pPr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Font typeface="Arial" panose="020B0604020202020204" pitchFamily="34" charset="0"/>
              <a:buChar char="•"/>
              <a:defRPr/>
            </a:pPr>
            <a:endParaRPr lang="es-CL" altLang="es-CL" sz="1500" dirty="0">
              <a:latin typeface="ACHS Nueva Sans Medium" pitchFamily="2" charset="77"/>
            </a:endParaRPr>
          </a:p>
          <a:p>
            <a:pPr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Font typeface="Arial" panose="020B0604020202020204" pitchFamily="34" charset="0"/>
              <a:buChar char="•"/>
              <a:defRPr/>
            </a:pPr>
            <a:r>
              <a:rPr lang="es-CL" altLang="es-CL" sz="1500" dirty="0">
                <a:latin typeface="ACHS Nueva Sans Medium" pitchFamily="2" charset="77"/>
              </a:rPr>
              <a:t>Seleccionar el tipo de andamio.</a:t>
            </a:r>
          </a:p>
          <a:p>
            <a:pPr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Font typeface="Arial" panose="020B0604020202020204" pitchFamily="34" charset="0"/>
              <a:buChar char="•"/>
              <a:defRPr/>
            </a:pPr>
            <a:endParaRPr lang="es-CL" altLang="es-CL" sz="1500" dirty="0">
              <a:latin typeface="ACHS Nueva Sans Medium" pitchFamily="2" charset="77"/>
            </a:endParaRPr>
          </a:p>
          <a:p>
            <a:pPr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Font typeface="Arial" panose="020B0604020202020204" pitchFamily="34" charset="0"/>
              <a:buChar char="•"/>
              <a:defRPr/>
            </a:pPr>
            <a:r>
              <a:rPr lang="es-CL" altLang="es-CL" sz="1500" dirty="0">
                <a:latin typeface="ACHS Nueva Sans Medium" pitchFamily="2" charset="77"/>
              </a:rPr>
              <a:t>Antes de utilizar el andamio, inspeccionar al menos una vez por semana y por alguien responsable. Se recomienda dejar tarjetas de advertencia que indiquen su uso aprobado  o no.</a:t>
            </a:r>
          </a:p>
          <a:p>
            <a:pPr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Font typeface="Arial" panose="020B0604020202020204" pitchFamily="34" charset="0"/>
              <a:buChar char="•"/>
              <a:defRPr/>
            </a:pPr>
            <a:endParaRPr lang="es-CL" altLang="es-CL" sz="1500" dirty="0">
              <a:latin typeface="ACHS Nueva Sans Medium" pitchFamily="2" charset="77"/>
            </a:endParaRPr>
          </a:p>
          <a:p>
            <a:pPr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Font typeface="Arial" panose="020B0604020202020204" pitchFamily="34" charset="0"/>
              <a:buChar char="•"/>
              <a:defRPr/>
            </a:pPr>
            <a:r>
              <a:rPr lang="es-CL" altLang="es-CL" sz="1500" dirty="0">
                <a:latin typeface="ACHS Nueva Sans Medium" pitchFamily="2" charset="77"/>
              </a:rPr>
              <a:t>Armar el andamio en terreno firme y si es necesario repartidores de carga, idealmente nivelados o sino utilizar niveladores. </a:t>
            </a:r>
          </a:p>
          <a:p>
            <a:pPr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Font typeface="Arial" panose="020B0604020202020204" pitchFamily="34" charset="0"/>
              <a:buChar char="•"/>
              <a:defRPr/>
            </a:pPr>
            <a:endParaRPr lang="es-CL" altLang="es-CL" sz="1500" dirty="0"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None/>
              <a:defRPr/>
            </a:pPr>
            <a:endParaRPr lang="es-CL" altLang="es-CL" sz="1500" dirty="0"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None/>
            </a:pPr>
            <a:endParaRPr lang="es-CL" altLang="es-CL" sz="1500" dirty="0">
              <a:latin typeface="ACHS Nueva Sans Medium" pitchFamily="2" charset="77"/>
            </a:endParaRPr>
          </a:p>
          <a:p>
            <a:pPr algn="just">
              <a:lnSpc>
                <a:spcPct val="100000"/>
              </a:lnSpc>
              <a:spcBef>
                <a:spcPts val="914"/>
              </a:spcBef>
              <a:buClr>
                <a:srgbClr val="83B827"/>
              </a:buClr>
              <a:buSzPct val="100000"/>
              <a:buFont typeface="Arial" panose="020B0604020202020204" pitchFamily="34" charset="0"/>
              <a:buChar char="•"/>
            </a:pPr>
            <a:endParaRPr lang="es-CL" altLang="es-CL" sz="1500" kern="0" dirty="0">
              <a:solidFill>
                <a:srgbClr val="8A8A8A">
                  <a:lumMod val="75000"/>
                </a:srgbClr>
              </a:solidFill>
            </a:endParaRPr>
          </a:p>
        </p:txBody>
      </p:sp>
      <p:pic>
        <p:nvPicPr>
          <p:cNvPr id="16" name="Imagen 5">
            <a:extLst>
              <a:ext uri="{FF2B5EF4-FFF2-40B4-BE49-F238E27FC236}">
                <a16:creationId xmlns:a16="http://schemas.microsoft.com/office/drawing/2014/main" xmlns="" id="{82F176E9-577A-694F-A0C6-2BD9B8A7E2C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56681" y="497023"/>
            <a:ext cx="1239794" cy="506480"/>
          </a:xfrm>
          <a:prstGeom prst="rect">
            <a:avLst/>
          </a:prstGeom>
        </p:spPr>
      </p:pic>
      <p:cxnSp>
        <p:nvCxnSpPr>
          <p:cNvPr id="17" name="Conector recto 6">
            <a:extLst>
              <a:ext uri="{FF2B5EF4-FFF2-40B4-BE49-F238E27FC236}">
                <a16:creationId xmlns:a16="http://schemas.microsoft.com/office/drawing/2014/main" xmlns="" id="{50B73276-5AF7-FA46-A887-8C61FEB344A7}"/>
              </a:ext>
            </a:extLst>
          </p:cNvPr>
          <p:cNvCxnSpPr/>
          <p:nvPr/>
        </p:nvCxnSpPr>
        <p:spPr>
          <a:xfrm>
            <a:off x="511867" y="363806"/>
            <a:ext cx="1629316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9" name="Título 30">
            <a:extLst>
              <a:ext uri="{FF2B5EF4-FFF2-40B4-BE49-F238E27FC236}">
                <a16:creationId xmlns:a16="http://schemas.microsoft.com/office/drawing/2014/main" xmlns="" id="{097C035A-CB3E-1347-B02F-1E7B2C3260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550" y="719469"/>
            <a:ext cx="5433730" cy="464608"/>
          </a:xfrm>
        </p:spPr>
        <p:txBody>
          <a:bodyPr vert="horz">
            <a:normAutofit fontScale="90000"/>
          </a:bodyPr>
          <a:lstStyle/>
          <a:p>
            <a:pPr>
              <a:lnSpc>
                <a:spcPct val="100000"/>
              </a:lnSpc>
            </a:pPr>
            <a:r>
              <a:rPr lang="es-CL" sz="2200" kern="0" dirty="0">
                <a:solidFill>
                  <a:srgbClr val="15BF45"/>
                </a:solidFill>
                <a:latin typeface="ACHS Nueva Serif" pitchFamily="2" charset="77"/>
              </a:rPr>
              <a:t>Medidas preventivas al borde de andamios</a:t>
            </a:r>
            <a:r>
              <a:rPr lang="es-CL" sz="2200" dirty="0">
                <a:solidFill>
                  <a:srgbClr val="00B050"/>
                </a:solidFill>
                <a:latin typeface="ACHS Nueva Serif" pitchFamily="2" charset="77"/>
              </a:rPr>
              <a:t/>
            </a:r>
            <a:br>
              <a:rPr lang="es-CL" sz="2200" dirty="0">
                <a:solidFill>
                  <a:srgbClr val="00B050"/>
                </a:solidFill>
                <a:latin typeface="ACHS Nueva Serif" pitchFamily="2" charset="77"/>
              </a:rPr>
            </a:br>
            <a:r>
              <a:rPr lang="es-CL" sz="2200" dirty="0">
                <a:solidFill>
                  <a:srgbClr val="0C662F"/>
                </a:solidFill>
                <a:latin typeface="ACHS Nueva Serif" pitchFamily="2" charset="77"/>
              </a:rPr>
              <a:t>Carpintero de moldaje</a:t>
            </a:r>
          </a:p>
        </p:txBody>
      </p:sp>
      <p:pic>
        <p:nvPicPr>
          <p:cNvPr id="22" name="Imagen 2">
            <a:extLst>
              <a:ext uri="{FF2B5EF4-FFF2-40B4-BE49-F238E27FC236}">
                <a16:creationId xmlns:a16="http://schemas.microsoft.com/office/drawing/2014/main" xmlns="" id="{ECA43AC9-F7D0-0845-A2C0-BEEDEF78902C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881" r="-1"/>
          <a:stretch/>
        </p:blipFill>
        <p:spPr>
          <a:xfrm>
            <a:off x="4530156" y="1506549"/>
            <a:ext cx="7663432" cy="5383249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223710117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2004" y="1210"/>
          <a:ext cx="1210" cy="12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3143" name="Diapositiva de think-cell" r:id="rId6" imgW="415" imgH="416" progId="TCLayout.ActiveDocument.1">
                  <p:embed/>
                </p:oleObj>
              </mc:Choice>
              <mc:Fallback>
                <p:oleObj name="Diapositiva de think-cell" r:id="rId6" imgW="415" imgH="416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004" y="1210"/>
                        <a:ext cx="1210" cy="121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Marcador de texto 31">
            <a:extLst>
              <a:ext uri="{FF2B5EF4-FFF2-40B4-BE49-F238E27FC236}">
                <a16:creationId xmlns:a16="http://schemas.microsoft.com/office/drawing/2014/main" xmlns="" id="{8AE241CE-80C6-454A-B6D9-8D63D3CD744C}"/>
              </a:ext>
            </a:extLst>
          </p:cNvPr>
          <p:cNvSpPr txBox="1">
            <a:spLocks/>
          </p:cNvSpPr>
          <p:nvPr/>
        </p:nvSpPr>
        <p:spPr>
          <a:xfrm>
            <a:off x="568550" y="1468228"/>
            <a:ext cx="3433449" cy="7073340"/>
          </a:xfrm>
          <a:prstGeom prst="rect">
            <a:avLst/>
          </a:prstGeom>
        </p:spPr>
        <p:txBody>
          <a:bodyPr>
            <a:norm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Font typeface="Arial" panose="020B0604020202020204" pitchFamily="34" charset="0"/>
              <a:buChar char="•"/>
              <a:defRPr/>
            </a:pPr>
            <a:r>
              <a:rPr lang="es-CL" altLang="es-CL" sz="1500" dirty="0">
                <a:latin typeface="ACHS Nueva Sans Medium" pitchFamily="2" charset="77"/>
              </a:rPr>
              <a:t>Mantener verticalidad y horizontal aplomada.</a:t>
            </a:r>
          </a:p>
          <a:p>
            <a:pPr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Font typeface="Arial" panose="020B0604020202020204" pitchFamily="34" charset="0"/>
              <a:buChar char="•"/>
              <a:defRPr/>
            </a:pPr>
            <a:endParaRPr lang="es-CL" altLang="es-CL" sz="1500" dirty="0">
              <a:latin typeface="ACHS Nueva Sans Medium" pitchFamily="2" charset="77"/>
            </a:endParaRPr>
          </a:p>
          <a:p>
            <a:pPr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Font typeface="Arial" panose="020B0604020202020204" pitchFamily="34" charset="0"/>
              <a:buChar char="•"/>
              <a:defRPr/>
            </a:pPr>
            <a:r>
              <a:rPr lang="es-CL" altLang="es-CL" sz="1500" dirty="0">
                <a:latin typeface="ACHS Nueva Sans Medium" pitchFamily="2" charset="77"/>
              </a:rPr>
              <a:t>Evitar volcamiento del andamio autosoportante, para ello la altura no debe exceder de 4 veces el lado menor de la base en montajes interiores y de 3 veces el lado menor en montajes exteriores. Esto se conoce como la Regla de                               auto sustentabilidad.</a:t>
            </a:r>
          </a:p>
          <a:p>
            <a:pPr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Font typeface="Arial" panose="020B0604020202020204" pitchFamily="34" charset="0"/>
              <a:buChar char="•"/>
              <a:defRPr/>
            </a:pPr>
            <a:endParaRPr lang="es-CL" altLang="es-CL" sz="1500" dirty="0">
              <a:latin typeface="ACHS Nueva Sans Medium" pitchFamily="2" charset="77"/>
            </a:endParaRPr>
          </a:p>
          <a:p>
            <a:pPr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Font typeface="Arial" panose="020B0604020202020204" pitchFamily="34" charset="0"/>
              <a:buChar char="•"/>
              <a:defRPr/>
            </a:pPr>
            <a:r>
              <a:rPr lang="es-CL" altLang="es-CL" sz="1500" dirty="0">
                <a:latin typeface="ACHS Nueva Sans Medium" pitchFamily="2" charset="77"/>
              </a:rPr>
              <a:t>Cuando existan condiciones climáticas desfavorables como la nieve, hielo, viento y lluvia no se deben utilizar los andamios.</a:t>
            </a:r>
          </a:p>
          <a:p>
            <a:pPr marL="0" indent="0"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None/>
              <a:defRPr/>
            </a:pPr>
            <a:endParaRPr lang="es-CL" altLang="es-CL" sz="1500" dirty="0"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None/>
            </a:pPr>
            <a:endParaRPr lang="es-CL" altLang="es-CL" sz="1500" dirty="0">
              <a:latin typeface="ACHS Nueva Sans Medium" pitchFamily="2" charset="77"/>
            </a:endParaRPr>
          </a:p>
          <a:p>
            <a:pPr algn="just">
              <a:lnSpc>
                <a:spcPct val="100000"/>
              </a:lnSpc>
              <a:spcBef>
                <a:spcPts val="914"/>
              </a:spcBef>
              <a:buClr>
                <a:srgbClr val="83B827"/>
              </a:buClr>
              <a:buSzPct val="100000"/>
              <a:buFont typeface="Arial" panose="020B0604020202020204" pitchFamily="34" charset="0"/>
              <a:buChar char="•"/>
            </a:pPr>
            <a:endParaRPr lang="es-CL" altLang="es-CL" sz="1500" kern="0" dirty="0">
              <a:solidFill>
                <a:srgbClr val="8A8A8A">
                  <a:lumMod val="75000"/>
                </a:srgbClr>
              </a:solidFill>
            </a:endParaRPr>
          </a:p>
        </p:txBody>
      </p:sp>
      <p:pic>
        <p:nvPicPr>
          <p:cNvPr id="16" name="Imagen 5">
            <a:extLst>
              <a:ext uri="{FF2B5EF4-FFF2-40B4-BE49-F238E27FC236}">
                <a16:creationId xmlns:a16="http://schemas.microsoft.com/office/drawing/2014/main" xmlns="" id="{82F176E9-577A-694F-A0C6-2BD9B8A7E2C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56681" y="497023"/>
            <a:ext cx="1239794" cy="506480"/>
          </a:xfrm>
          <a:prstGeom prst="rect">
            <a:avLst/>
          </a:prstGeom>
        </p:spPr>
      </p:pic>
      <p:cxnSp>
        <p:nvCxnSpPr>
          <p:cNvPr id="17" name="Conector recto 6">
            <a:extLst>
              <a:ext uri="{FF2B5EF4-FFF2-40B4-BE49-F238E27FC236}">
                <a16:creationId xmlns:a16="http://schemas.microsoft.com/office/drawing/2014/main" xmlns="" id="{50B73276-5AF7-FA46-A887-8C61FEB344A7}"/>
              </a:ext>
            </a:extLst>
          </p:cNvPr>
          <p:cNvCxnSpPr/>
          <p:nvPr/>
        </p:nvCxnSpPr>
        <p:spPr>
          <a:xfrm>
            <a:off x="511867" y="363806"/>
            <a:ext cx="1629316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9" name="Título 30">
            <a:extLst>
              <a:ext uri="{FF2B5EF4-FFF2-40B4-BE49-F238E27FC236}">
                <a16:creationId xmlns:a16="http://schemas.microsoft.com/office/drawing/2014/main" xmlns="" id="{097C035A-CB3E-1347-B02F-1E7B2C3260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550" y="719469"/>
            <a:ext cx="5433730" cy="464608"/>
          </a:xfrm>
        </p:spPr>
        <p:txBody>
          <a:bodyPr vert="horz">
            <a:normAutofit fontScale="90000"/>
          </a:bodyPr>
          <a:lstStyle/>
          <a:p>
            <a:pPr>
              <a:lnSpc>
                <a:spcPct val="100000"/>
              </a:lnSpc>
            </a:pPr>
            <a:r>
              <a:rPr lang="es-CL" sz="2200" kern="0" dirty="0">
                <a:solidFill>
                  <a:srgbClr val="15BF45"/>
                </a:solidFill>
                <a:latin typeface="ACHS Nueva Serif" pitchFamily="2" charset="77"/>
              </a:rPr>
              <a:t>Medidas preventivas al borde de andamios</a:t>
            </a:r>
            <a:r>
              <a:rPr lang="es-CL" sz="2200" dirty="0">
                <a:solidFill>
                  <a:srgbClr val="00B050"/>
                </a:solidFill>
                <a:latin typeface="ACHS Nueva Serif" pitchFamily="2" charset="77"/>
              </a:rPr>
              <a:t/>
            </a:r>
            <a:br>
              <a:rPr lang="es-CL" sz="2200" dirty="0">
                <a:solidFill>
                  <a:srgbClr val="00B050"/>
                </a:solidFill>
                <a:latin typeface="ACHS Nueva Serif" pitchFamily="2" charset="77"/>
              </a:rPr>
            </a:br>
            <a:r>
              <a:rPr lang="es-CL" sz="2200" dirty="0">
                <a:solidFill>
                  <a:srgbClr val="0C662F"/>
                </a:solidFill>
                <a:latin typeface="ACHS Nueva Serif" pitchFamily="2" charset="77"/>
              </a:rPr>
              <a:t>Carpintero de moldaje</a:t>
            </a:r>
          </a:p>
        </p:txBody>
      </p:sp>
      <p:pic>
        <p:nvPicPr>
          <p:cNvPr id="9" name="Imagen 2">
            <a:extLst>
              <a:ext uri="{FF2B5EF4-FFF2-40B4-BE49-F238E27FC236}">
                <a16:creationId xmlns:a16="http://schemas.microsoft.com/office/drawing/2014/main" xmlns="" id="{DFC45EBC-0792-1940-87A8-31F32D61A19D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881" r="-1"/>
          <a:stretch/>
        </p:blipFill>
        <p:spPr>
          <a:xfrm>
            <a:off x="4530156" y="1506549"/>
            <a:ext cx="7663432" cy="5383249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2473890983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2004" y="1210"/>
          <a:ext cx="1210" cy="12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4165" name="Diapositiva de think-cell" r:id="rId6" imgW="415" imgH="416" progId="TCLayout.ActiveDocument.1">
                  <p:embed/>
                </p:oleObj>
              </mc:Choice>
              <mc:Fallback>
                <p:oleObj name="Diapositiva de think-cell" r:id="rId6" imgW="415" imgH="416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004" y="1210"/>
                        <a:ext cx="1210" cy="121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Marcador de texto 31">
            <a:extLst>
              <a:ext uri="{FF2B5EF4-FFF2-40B4-BE49-F238E27FC236}">
                <a16:creationId xmlns:a16="http://schemas.microsoft.com/office/drawing/2014/main" xmlns="" id="{BA2852FA-D83F-0C4D-882C-34619411283C}"/>
              </a:ext>
            </a:extLst>
          </p:cNvPr>
          <p:cNvSpPr txBox="1">
            <a:spLocks/>
          </p:cNvSpPr>
          <p:nvPr/>
        </p:nvSpPr>
        <p:spPr>
          <a:xfrm>
            <a:off x="568550" y="1468228"/>
            <a:ext cx="3512020" cy="7073340"/>
          </a:xfrm>
          <a:prstGeom prst="rect">
            <a:avLst/>
          </a:prstGeom>
        </p:spPr>
        <p:txBody>
          <a:bodyPr>
            <a:norm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110000"/>
              </a:lnSpc>
              <a:spcBef>
                <a:spcPts val="200"/>
              </a:spcBef>
              <a:buClr>
                <a:srgbClr val="15C047"/>
              </a:buClr>
              <a:buFont typeface="Arial" panose="020B0604020202020204" pitchFamily="34" charset="0"/>
              <a:buChar char="•"/>
              <a:defRPr/>
            </a:pPr>
            <a:r>
              <a:rPr lang="es-CL" altLang="es-CL" sz="1500" dirty="0">
                <a:latin typeface="ACHS Nueva Sans Medium" pitchFamily="2" charset="77"/>
              </a:rPr>
              <a:t>Señalizar siempre las áreas adyacentes del lugar donde estará ubicado, tanto en su montaje, uso y desmontaje, evitando que peatones                 sean golpeados.</a:t>
            </a:r>
          </a:p>
          <a:p>
            <a:pPr>
              <a:lnSpc>
                <a:spcPct val="110000"/>
              </a:lnSpc>
              <a:spcBef>
                <a:spcPts val="200"/>
              </a:spcBef>
              <a:buClr>
                <a:srgbClr val="15C047"/>
              </a:buClr>
              <a:buFont typeface="Arial" panose="020B0604020202020204" pitchFamily="34" charset="0"/>
              <a:buChar char="•"/>
              <a:defRPr/>
            </a:pPr>
            <a:endParaRPr lang="es-CL" altLang="es-CL" sz="1500" dirty="0">
              <a:latin typeface="ACHS Nueva Sans Medium" pitchFamily="2" charset="77"/>
            </a:endParaRPr>
          </a:p>
          <a:p>
            <a:pPr>
              <a:lnSpc>
                <a:spcPct val="110000"/>
              </a:lnSpc>
              <a:spcBef>
                <a:spcPts val="200"/>
              </a:spcBef>
              <a:buClr>
                <a:srgbClr val="15C047"/>
              </a:buClr>
              <a:buFont typeface="Arial" panose="020B0604020202020204" pitchFamily="34" charset="0"/>
              <a:buChar char="•"/>
              <a:defRPr/>
            </a:pPr>
            <a:r>
              <a:rPr lang="es-CL" altLang="es-CL" sz="1500" dirty="0">
                <a:latin typeface="ACHS Nueva Sans Medium" pitchFamily="2" charset="77"/>
              </a:rPr>
              <a:t>Armar por etapas, dejándolo completamente armado antes de seguir al siguiente nivel.</a:t>
            </a:r>
          </a:p>
          <a:p>
            <a:pPr>
              <a:lnSpc>
                <a:spcPct val="110000"/>
              </a:lnSpc>
              <a:spcBef>
                <a:spcPts val="200"/>
              </a:spcBef>
              <a:buClr>
                <a:srgbClr val="15C047"/>
              </a:buClr>
              <a:buFont typeface="Arial" panose="020B0604020202020204" pitchFamily="34" charset="0"/>
              <a:buChar char="•"/>
              <a:defRPr/>
            </a:pPr>
            <a:endParaRPr lang="es-CL" altLang="es-CL" sz="1500" dirty="0">
              <a:latin typeface="ACHS Nueva Sans Medium" pitchFamily="2" charset="77"/>
            </a:endParaRPr>
          </a:p>
          <a:p>
            <a:pPr>
              <a:lnSpc>
                <a:spcPct val="110000"/>
              </a:lnSpc>
              <a:spcBef>
                <a:spcPts val="200"/>
              </a:spcBef>
              <a:buClr>
                <a:srgbClr val="15C047"/>
              </a:buClr>
              <a:buFont typeface="Arial" panose="020B0604020202020204" pitchFamily="34" charset="0"/>
              <a:buChar char="•"/>
              <a:defRPr/>
            </a:pPr>
            <a:r>
              <a:rPr lang="es-CL" altLang="es-CL" sz="1500" dirty="0">
                <a:latin typeface="ACHS Nueva Sans Medium" pitchFamily="2" charset="77"/>
              </a:rPr>
              <a:t>Sobre los 1,8 metros es obligatorio el uso de arnés de seguridad tipo paracaídas y cuerda de vida, para mantenerse siempre anclado en el montaje, uso y desmontaje. </a:t>
            </a:r>
          </a:p>
          <a:p>
            <a:pPr>
              <a:lnSpc>
                <a:spcPct val="110000"/>
              </a:lnSpc>
              <a:spcBef>
                <a:spcPts val="200"/>
              </a:spcBef>
              <a:buClr>
                <a:srgbClr val="15C047"/>
              </a:buClr>
              <a:buFont typeface="Arial" panose="020B0604020202020204" pitchFamily="34" charset="0"/>
              <a:buChar char="•"/>
              <a:defRPr/>
            </a:pPr>
            <a:endParaRPr lang="es-CL" altLang="es-CL" sz="1500" dirty="0"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None/>
              <a:defRPr/>
            </a:pPr>
            <a:endParaRPr lang="es-CL" altLang="es-CL" sz="1500" dirty="0"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None/>
              <a:defRPr/>
            </a:pPr>
            <a:endParaRPr lang="es-CL" altLang="es-CL" sz="1500" dirty="0"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None/>
            </a:pPr>
            <a:endParaRPr lang="es-CL" altLang="es-CL" sz="1500" dirty="0">
              <a:latin typeface="ACHS Nueva Sans Medium" pitchFamily="2" charset="77"/>
            </a:endParaRPr>
          </a:p>
          <a:p>
            <a:pPr algn="just">
              <a:lnSpc>
                <a:spcPct val="100000"/>
              </a:lnSpc>
              <a:spcBef>
                <a:spcPts val="914"/>
              </a:spcBef>
              <a:buClr>
                <a:srgbClr val="83B827"/>
              </a:buClr>
              <a:buSzPct val="100000"/>
              <a:buFont typeface="Arial" panose="020B0604020202020204" pitchFamily="34" charset="0"/>
              <a:buChar char="•"/>
            </a:pPr>
            <a:endParaRPr lang="es-CL" altLang="es-CL" sz="1500" kern="0" dirty="0">
              <a:solidFill>
                <a:srgbClr val="8A8A8A">
                  <a:lumMod val="75000"/>
                </a:srgbClr>
              </a:solidFill>
            </a:endParaRPr>
          </a:p>
        </p:txBody>
      </p:sp>
      <p:pic>
        <p:nvPicPr>
          <p:cNvPr id="16" name="Imagen 5">
            <a:extLst>
              <a:ext uri="{FF2B5EF4-FFF2-40B4-BE49-F238E27FC236}">
                <a16:creationId xmlns:a16="http://schemas.microsoft.com/office/drawing/2014/main" xmlns="" id="{78740002-417D-D949-A310-3F953B73AA9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56681" y="497023"/>
            <a:ext cx="1239794" cy="506480"/>
          </a:xfrm>
          <a:prstGeom prst="rect">
            <a:avLst/>
          </a:prstGeom>
        </p:spPr>
      </p:pic>
      <p:cxnSp>
        <p:nvCxnSpPr>
          <p:cNvPr id="17" name="Conector recto 6">
            <a:extLst>
              <a:ext uri="{FF2B5EF4-FFF2-40B4-BE49-F238E27FC236}">
                <a16:creationId xmlns:a16="http://schemas.microsoft.com/office/drawing/2014/main" xmlns="" id="{910A90A7-DE80-D240-AE9A-A6DF8B9BAF04}"/>
              </a:ext>
            </a:extLst>
          </p:cNvPr>
          <p:cNvCxnSpPr/>
          <p:nvPr/>
        </p:nvCxnSpPr>
        <p:spPr>
          <a:xfrm>
            <a:off x="511867" y="363806"/>
            <a:ext cx="1629316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9" name="Título 30">
            <a:extLst>
              <a:ext uri="{FF2B5EF4-FFF2-40B4-BE49-F238E27FC236}">
                <a16:creationId xmlns:a16="http://schemas.microsoft.com/office/drawing/2014/main" xmlns="" id="{5C912443-B7A9-A84C-833E-5C116506FC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550" y="719469"/>
            <a:ext cx="5433730" cy="464608"/>
          </a:xfrm>
        </p:spPr>
        <p:txBody>
          <a:bodyPr vert="horz">
            <a:normAutofit fontScale="90000"/>
          </a:bodyPr>
          <a:lstStyle/>
          <a:p>
            <a:pPr>
              <a:lnSpc>
                <a:spcPct val="100000"/>
              </a:lnSpc>
            </a:pPr>
            <a:r>
              <a:rPr lang="es-CL" sz="2200" kern="0" dirty="0">
                <a:solidFill>
                  <a:srgbClr val="00B050"/>
                </a:solidFill>
                <a:latin typeface="ACHS Nueva Serif" pitchFamily="2" charset="77"/>
              </a:rPr>
              <a:t>Medidas preventivas al borde de andamios</a:t>
            </a:r>
            <a:r>
              <a:rPr lang="es-CL" sz="2200" dirty="0">
                <a:solidFill>
                  <a:srgbClr val="00B050"/>
                </a:solidFill>
                <a:latin typeface="ACHS Nueva Serif" pitchFamily="2" charset="77"/>
              </a:rPr>
              <a:t/>
            </a:r>
            <a:br>
              <a:rPr lang="es-CL" sz="2200" dirty="0">
                <a:solidFill>
                  <a:srgbClr val="00B050"/>
                </a:solidFill>
                <a:latin typeface="ACHS Nueva Serif" pitchFamily="2" charset="77"/>
              </a:rPr>
            </a:br>
            <a:r>
              <a:rPr lang="es-CL" sz="2200" dirty="0">
                <a:solidFill>
                  <a:srgbClr val="0C662F"/>
                </a:solidFill>
                <a:latin typeface="ACHS Nueva Serif" pitchFamily="2" charset="77"/>
              </a:rPr>
              <a:t>Carpintero de moldaje</a:t>
            </a:r>
          </a:p>
        </p:txBody>
      </p:sp>
      <p:pic>
        <p:nvPicPr>
          <p:cNvPr id="20" name="Imagen 2">
            <a:extLst>
              <a:ext uri="{FF2B5EF4-FFF2-40B4-BE49-F238E27FC236}">
                <a16:creationId xmlns:a16="http://schemas.microsoft.com/office/drawing/2014/main" xmlns="" id="{8FE78F20-5312-E249-A664-4B263E84354E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881" r="-1"/>
          <a:stretch/>
        </p:blipFill>
        <p:spPr>
          <a:xfrm>
            <a:off x="4530156" y="1506549"/>
            <a:ext cx="7663432" cy="5383249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86811854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2004" y="1210"/>
          <a:ext cx="1210" cy="12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5189" name="Diapositiva de think-cell" r:id="rId6" imgW="415" imgH="416" progId="TCLayout.ActiveDocument.1">
                  <p:embed/>
                </p:oleObj>
              </mc:Choice>
              <mc:Fallback>
                <p:oleObj name="Diapositiva de think-cell" r:id="rId6" imgW="415" imgH="416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004" y="1210"/>
                        <a:ext cx="1210" cy="121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Marcador de texto 31">
            <a:extLst>
              <a:ext uri="{FF2B5EF4-FFF2-40B4-BE49-F238E27FC236}">
                <a16:creationId xmlns:a16="http://schemas.microsoft.com/office/drawing/2014/main" xmlns="" id="{BA2852FA-D83F-0C4D-882C-34619411283C}"/>
              </a:ext>
            </a:extLst>
          </p:cNvPr>
          <p:cNvSpPr txBox="1">
            <a:spLocks/>
          </p:cNvSpPr>
          <p:nvPr/>
        </p:nvSpPr>
        <p:spPr>
          <a:xfrm>
            <a:off x="568550" y="1468228"/>
            <a:ext cx="3440012" cy="7073340"/>
          </a:xfrm>
          <a:prstGeom prst="rect">
            <a:avLst/>
          </a:prstGeom>
        </p:spPr>
        <p:txBody>
          <a:bodyPr>
            <a:norm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110000"/>
              </a:lnSpc>
              <a:spcBef>
                <a:spcPts val="200"/>
              </a:spcBef>
              <a:buClr>
                <a:srgbClr val="15C047"/>
              </a:buClr>
              <a:buFont typeface="Arial" panose="020B0604020202020204" pitchFamily="34" charset="0"/>
              <a:buChar char="•"/>
              <a:defRPr/>
            </a:pPr>
            <a:r>
              <a:rPr lang="es-CL" altLang="es-CL" sz="1500" dirty="0">
                <a:latin typeface="ACHS Nueva Sans Medium" pitchFamily="2" charset="77"/>
              </a:rPr>
              <a:t>El desmontaje se debe iniciar desde la parte superior, a la inversa que el montaje.</a:t>
            </a:r>
          </a:p>
          <a:p>
            <a:pPr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Font typeface="Arial" panose="020B0604020202020204" pitchFamily="34" charset="0"/>
              <a:buChar char="•"/>
              <a:defRPr/>
            </a:pPr>
            <a:endParaRPr lang="es-CL" altLang="es-CL" sz="1500" dirty="0">
              <a:latin typeface="ACHS Nueva Sans Medium" pitchFamily="2" charset="77"/>
            </a:endParaRPr>
          </a:p>
          <a:p>
            <a:pPr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Font typeface="Arial" panose="020B0604020202020204" pitchFamily="34" charset="0"/>
              <a:buChar char="•"/>
              <a:defRPr/>
            </a:pPr>
            <a:r>
              <a:rPr lang="es-CL" altLang="es-CL" sz="1500" dirty="0">
                <a:latin typeface="ACHS Nueva Sans Medium" pitchFamily="2" charset="77"/>
              </a:rPr>
              <a:t>Las plataformas de trabajo deben ser de material antideslizante y fijarse a los travesaños, nunca utilizar tablones de pino insigne y al utilizar madera, esta debe traslaparse y arriostrarse a              la estructura.</a:t>
            </a:r>
          </a:p>
          <a:p>
            <a:pPr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Font typeface="Arial" panose="020B0604020202020204" pitchFamily="34" charset="0"/>
              <a:buChar char="•"/>
              <a:defRPr/>
            </a:pPr>
            <a:endParaRPr lang="es-CL" altLang="es-CL" sz="1500" dirty="0">
              <a:latin typeface="ACHS Nueva Sans Medium" pitchFamily="2" charset="77"/>
            </a:endParaRPr>
          </a:p>
          <a:p>
            <a:pPr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Font typeface="Arial" panose="020B0604020202020204" pitchFamily="34" charset="0"/>
              <a:buChar char="•"/>
              <a:defRPr/>
            </a:pPr>
            <a:r>
              <a:rPr lang="es-CL" altLang="es-CL" sz="1500" dirty="0">
                <a:latin typeface="ACHS Nueva Sans Medium" pitchFamily="2" charset="77"/>
              </a:rPr>
              <a:t>Sobre los 1,8 m. los andamios deben tener baranda a 1 m. de la superficie de trabajo y otra intermedia, más rodapié en los cuatro costados.</a:t>
            </a:r>
          </a:p>
          <a:p>
            <a:pPr marL="0" indent="0"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None/>
              <a:defRPr/>
            </a:pPr>
            <a:endParaRPr lang="es-CL" altLang="es-CL" sz="1500" dirty="0"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None/>
              <a:defRPr/>
            </a:pPr>
            <a:endParaRPr lang="es-CL" altLang="es-CL" sz="1500" dirty="0"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None/>
            </a:pPr>
            <a:endParaRPr lang="es-CL" altLang="es-CL" sz="1500" dirty="0">
              <a:latin typeface="ACHS Nueva Sans Medium" pitchFamily="2" charset="77"/>
            </a:endParaRPr>
          </a:p>
          <a:p>
            <a:pPr algn="just">
              <a:lnSpc>
                <a:spcPct val="100000"/>
              </a:lnSpc>
              <a:spcBef>
                <a:spcPts val="914"/>
              </a:spcBef>
              <a:buClr>
                <a:srgbClr val="83B827"/>
              </a:buClr>
              <a:buSzPct val="100000"/>
              <a:buFont typeface="Arial" panose="020B0604020202020204" pitchFamily="34" charset="0"/>
              <a:buChar char="•"/>
            </a:pPr>
            <a:endParaRPr lang="es-CL" altLang="es-CL" sz="1500" kern="0" dirty="0">
              <a:solidFill>
                <a:srgbClr val="8A8A8A">
                  <a:lumMod val="75000"/>
                </a:srgbClr>
              </a:solidFill>
            </a:endParaRPr>
          </a:p>
        </p:txBody>
      </p:sp>
      <p:pic>
        <p:nvPicPr>
          <p:cNvPr id="16" name="Imagen 5">
            <a:extLst>
              <a:ext uri="{FF2B5EF4-FFF2-40B4-BE49-F238E27FC236}">
                <a16:creationId xmlns:a16="http://schemas.microsoft.com/office/drawing/2014/main" xmlns="" id="{78740002-417D-D949-A310-3F953B73AA9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56681" y="497023"/>
            <a:ext cx="1239794" cy="506480"/>
          </a:xfrm>
          <a:prstGeom prst="rect">
            <a:avLst/>
          </a:prstGeom>
        </p:spPr>
      </p:pic>
      <p:cxnSp>
        <p:nvCxnSpPr>
          <p:cNvPr id="17" name="Conector recto 6">
            <a:extLst>
              <a:ext uri="{FF2B5EF4-FFF2-40B4-BE49-F238E27FC236}">
                <a16:creationId xmlns:a16="http://schemas.microsoft.com/office/drawing/2014/main" xmlns="" id="{910A90A7-DE80-D240-AE9A-A6DF8B9BAF04}"/>
              </a:ext>
            </a:extLst>
          </p:cNvPr>
          <p:cNvCxnSpPr/>
          <p:nvPr/>
        </p:nvCxnSpPr>
        <p:spPr>
          <a:xfrm>
            <a:off x="511867" y="363806"/>
            <a:ext cx="1629316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9" name="Título 30">
            <a:extLst>
              <a:ext uri="{FF2B5EF4-FFF2-40B4-BE49-F238E27FC236}">
                <a16:creationId xmlns:a16="http://schemas.microsoft.com/office/drawing/2014/main" xmlns="" id="{5C912443-B7A9-A84C-833E-5C116506FC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550" y="719469"/>
            <a:ext cx="5433730" cy="464608"/>
          </a:xfrm>
        </p:spPr>
        <p:txBody>
          <a:bodyPr vert="horz">
            <a:normAutofit fontScale="90000"/>
          </a:bodyPr>
          <a:lstStyle/>
          <a:p>
            <a:pPr>
              <a:lnSpc>
                <a:spcPct val="100000"/>
              </a:lnSpc>
            </a:pPr>
            <a:r>
              <a:rPr lang="es-CL" sz="2200" kern="0" dirty="0">
                <a:solidFill>
                  <a:srgbClr val="15BF45"/>
                </a:solidFill>
                <a:latin typeface="ACHS Nueva Serif" pitchFamily="2" charset="77"/>
              </a:rPr>
              <a:t>Medidas preventivas al borde de andamios</a:t>
            </a:r>
            <a:r>
              <a:rPr lang="es-CL" sz="2200" dirty="0">
                <a:solidFill>
                  <a:srgbClr val="00B050"/>
                </a:solidFill>
                <a:latin typeface="ACHS Nueva Serif" pitchFamily="2" charset="77"/>
              </a:rPr>
              <a:t/>
            </a:r>
            <a:br>
              <a:rPr lang="es-CL" sz="2200" dirty="0">
                <a:solidFill>
                  <a:srgbClr val="00B050"/>
                </a:solidFill>
                <a:latin typeface="ACHS Nueva Serif" pitchFamily="2" charset="77"/>
              </a:rPr>
            </a:br>
            <a:r>
              <a:rPr lang="es-CL" sz="2200" dirty="0">
                <a:solidFill>
                  <a:srgbClr val="0C662F"/>
                </a:solidFill>
                <a:latin typeface="ACHS Nueva Serif" pitchFamily="2" charset="77"/>
              </a:rPr>
              <a:t>Carpintero de moldaje</a:t>
            </a:r>
          </a:p>
        </p:txBody>
      </p:sp>
      <p:pic>
        <p:nvPicPr>
          <p:cNvPr id="9" name="Imagen 2">
            <a:extLst>
              <a:ext uri="{FF2B5EF4-FFF2-40B4-BE49-F238E27FC236}">
                <a16:creationId xmlns:a16="http://schemas.microsoft.com/office/drawing/2014/main" xmlns="" id="{B9E42291-396D-1149-B507-6155B7AAE4CF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881" r="-1"/>
          <a:stretch/>
        </p:blipFill>
        <p:spPr>
          <a:xfrm>
            <a:off x="4530156" y="1506549"/>
            <a:ext cx="7663432" cy="5383249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657391493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2004" y="1210"/>
          <a:ext cx="1210" cy="12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6213" name="Diapositiva de think-cell" r:id="rId6" imgW="415" imgH="416" progId="TCLayout.ActiveDocument.1">
                  <p:embed/>
                </p:oleObj>
              </mc:Choice>
              <mc:Fallback>
                <p:oleObj name="Diapositiva de think-cell" r:id="rId6" imgW="415" imgH="416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004" y="1210"/>
                        <a:ext cx="1210" cy="121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Marcador de texto 31">
            <a:extLst>
              <a:ext uri="{FF2B5EF4-FFF2-40B4-BE49-F238E27FC236}">
                <a16:creationId xmlns:a16="http://schemas.microsoft.com/office/drawing/2014/main" xmlns="" id="{4ADE0794-14A4-A447-A3CE-F6F80E75CEB7}"/>
              </a:ext>
            </a:extLst>
          </p:cNvPr>
          <p:cNvSpPr txBox="1">
            <a:spLocks/>
          </p:cNvSpPr>
          <p:nvPr/>
        </p:nvSpPr>
        <p:spPr>
          <a:xfrm>
            <a:off x="568550" y="1468228"/>
            <a:ext cx="3433449" cy="7073340"/>
          </a:xfrm>
          <a:prstGeom prst="rect">
            <a:avLst/>
          </a:prstGeom>
        </p:spPr>
        <p:txBody>
          <a:bodyPr>
            <a:norm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110000"/>
              </a:lnSpc>
              <a:spcBef>
                <a:spcPts val="200"/>
              </a:spcBef>
              <a:buClr>
                <a:srgbClr val="15C047"/>
              </a:buClr>
              <a:buFont typeface="Arial" panose="020B0604020202020204" pitchFamily="34" charset="0"/>
              <a:buChar char="•"/>
              <a:defRPr/>
            </a:pPr>
            <a:r>
              <a:rPr lang="es-CL" altLang="es-CL" sz="1500" dirty="0">
                <a:latin typeface="ACHS Nueva Sans Medium" pitchFamily="2" charset="77"/>
              </a:rPr>
              <a:t>Siempre se debe acceder a las plataformas de los andamios, a través de escalas por dentro de la estructura y utilizando los tres puntos de apoyo evitando caídas libres y en algunos casos volcamiento de la estructura.</a:t>
            </a:r>
          </a:p>
          <a:p>
            <a:pPr>
              <a:lnSpc>
                <a:spcPct val="110000"/>
              </a:lnSpc>
              <a:spcBef>
                <a:spcPts val="200"/>
              </a:spcBef>
              <a:buClr>
                <a:srgbClr val="15C047"/>
              </a:buClr>
              <a:buFont typeface="Arial" panose="020B0604020202020204" pitchFamily="34" charset="0"/>
              <a:buChar char="•"/>
              <a:defRPr/>
            </a:pPr>
            <a:endParaRPr lang="es-CL" altLang="es-CL" sz="1500" dirty="0">
              <a:latin typeface="ACHS Nueva Sans Medium" pitchFamily="2" charset="77"/>
            </a:endParaRPr>
          </a:p>
          <a:p>
            <a:pPr>
              <a:lnSpc>
                <a:spcPct val="110000"/>
              </a:lnSpc>
              <a:spcBef>
                <a:spcPts val="200"/>
              </a:spcBef>
              <a:buClr>
                <a:srgbClr val="15C047"/>
              </a:buClr>
              <a:buFont typeface="Arial" panose="020B0604020202020204" pitchFamily="34" charset="0"/>
              <a:buChar char="•"/>
              <a:defRPr/>
            </a:pPr>
            <a:r>
              <a:rPr lang="es-CL" altLang="es-CL" sz="1500" dirty="0">
                <a:latin typeface="ACHS Nueva Sans Medium" pitchFamily="2" charset="77"/>
              </a:rPr>
              <a:t>Nunca se deben acumular materiales en los andamios en forma concentrada, sólo los mínimos y que permitan los cálculos de resistencia.</a:t>
            </a:r>
          </a:p>
          <a:p>
            <a:pPr marL="0" indent="0">
              <a:lnSpc>
                <a:spcPct val="110000"/>
              </a:lnSpc>
              <a:spcBef>
                <a:spcPts val="200"/>
              </a:spcBef>
              <a:buClr>
                <a:srgbClr val="15C047"/>
              </a:buClr>
              <a:buNone/>
              <a:defRPr/>
            </a:pPr>
            <a:endParaRPr lang="es-CL" altLang="es-CL" sz="1500" dirty="0">
              <a:latin typeface="ACHS Nueva Sans Medium" pitchFamily="2" charset="77"/>
            </a:endParaRPr>
          </a:p>
          <a:p>
            <a:pPr>
              <a:lnSpc>
                <a:spcPct val="110000"/>
              </a:lnSpc>
              <a:spcBef>
                <a:spcPts val="200"/>
              </a:spcBef>
              <a:buClr>
                <a:srgbClr val="15C047"/>
              </a:buClr>
              <a:buFont typeface="Arial" panose="020B0604020202020204" pitchFamily="34" charset="0"/>
              <a:buChar char="•"/>
              <a:defRPr/>
            </a:pPr>
            <a:endParaRPr lang="es-CL" altLang="es-CL" sz="1500" dirty="0">
              <a:latin typeface="ACHS Nueva Sans Medium" pitchFamily="2" charset="77"/>
            </a:endParaRPr>
          </a:p>
          <a:p>
            <a:pPr marL="0" indent="0">
              <a:lnSpc>
                <a:spcPct val="110000"/>
              </a:lnSpc>
              <a:spcBef>
                <a:spcPts val="200"/>
              </a:spcBef>
              <a:buClr>
                <a:srgbClr val="15C047"/>
              </a:buClr>
              <a:buNone/>
              <a:defRPr/>
            </a:pPr>
            <a:endParaRPr lang="es-CL" altLang="es-CL" sz="1500" dirty="0">
              <a:latin typeface="ACHS Nueva Sans Medium" pitchFamily="2" charset="77"/>
            </a:endParaRPr>
          </a:p>
          <a:p>
            <a:pPr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Font typeface="Arial" panose="020B0604020202020204" pitchFamily="34" charset="0"/>
              <a:buChar char="•"/>
              <a:defRPr/>
            </a:pPr>
            <a:endParaRPr lang="es-CL" altLang="es-CL" sz="1500" dirty="0"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None/>
              <a:defRPr/>
            </a:pPr>
            <a:endParaRPr lang="es-CL" altLang="es-CL" sz="1500" dirty="0"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None/>
            </a:pPr>
            <a:endParaRPr lang="es-CL" altLang="es-CL" sz="1500" dirty="0">
              <a:latin typeface="ACHS Nueva Sans Medium" pitchFamily="2" charset="77"/>
            </a:endParaRPr>
          </a:p>
          <a:p>
            <a:pPr algn="just">
              <a:lnSpc>
                <a:spcPct val="100000"/>
              </a:lnSpc>
              <a:spcBef>
                <a:spcPts val="914"/>
              </a:spcBef>
              <a:buClr>
                <a:srgbClr val="83B827"/>
              </a:buClr>
              <a:buSzPct val="100000"/>
              <a:buFont typeface="Arial" panose="020B0604020202020204" pitchFamily="34" charset="0"/>
              <a:buChar char="•"/>
            </a:pPr>
            <a:endParaRPr lang="es-CL" altLang="es-CL" sz="1500" kern="0" dirty="0">
              <a:solidFill>
                <a:srgbClr val="8A8A8A">
                  <a:lumMod val="75000"/>
                </a:srgbClr>
              </a:solidFill>
            </a:endParaRPr>
          </a:p>
        </p:txBody>
      </p:sp>
      <p:pic>
        <p:nvPicPr>
          <p:cNvPr id="16" name="Imagen 5">
            <a:extLst>
              <a:ext uri="{FF2B5EF4-FFF2-40B4-BE49-F238E27FC236}">
                <a16:creationId xmlns:a16="http://schemas.microsoft.com/office/drawing/2014/main" xmlns="" id="{CF3CD029-EC98-2947-B54F-1D20E2D4CA5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56681" y="497023"/>
            <a:ext cx="1239794" cy="506480"/>
          </a:xfrm>
          <a:prstGeom prst="rect">
            <a:avLst/>
          </a:prstGeom>
        </p:spPr>
      </p:pic>
      <p:cxnSp>
        <p:nvCxnSpPr>
          <p:cNvPr id="17" name="Conector recto 6">
            <a:extLst>
              <a:ext uri="{FF2B5EF4-FFF2-40B4-BE49-F238E27FC236}">
                <a16:creationId xmlns:a16="http://schemas.microsoft.com/office/drawing/2014/main" xmlns="" id="{4AB56735-ABF3-D44D-B995-FB63F495D23F}"/>
              </a:ext>
            </a:extLst>
          </p:cNvPr>
          <p:cNvCxnSpPr/>
          <p:nvPr/>
        </p:nvCxnSpPr>
        <p:spPr>
          <a:xfrm>
            <a:off x="511867" y="363806"/>
            <a:ext cx="1629316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9" name="Título 30">
            <a:extLst>
              <a:ext uri="{FF2B5EF4-FFF2-40B4-BE49-F238E27FC236}">
                <a16:creationId xmlns:a16="http://schemas.microsoft.com/office/drawing/2014/main" xmlns="" id="{E7B7D19B-C2A5-FC4E-AB4F-17E3D77908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550" y="719469"/>
            <a:ext cx="5433730" cy="464608"/>
          </a:xfrm>
        </p:spPr>
        <p:txBody>
          <a:bodyPr vert="horz">
            <a:normAutofit fontScale="90000"/>
          </a:bodyPr>
          <a:lstStyle/>
          <a:p>
            <a:pPr>
              <a:lnSpc>
                <a:spcPct val="100000"/>
              </a:lnSpc>
            </a:pPr>
            <a:r>
              <a:rPr lang="es-CL" sz="2200" kern="0" dirty="0">
                <a:solidFill>
                  <a:srgbClr val="15BF45"/>
                </a:solidFill>
                <a:latin typeface="ACHS Nueva Serif" pitchFamily="2" charset="77"/>
              </a:rPr>
              <a:t>Medidas preventivas al borde de andamios</a:t>
            </a:r>
            <a:r>
              <a:rPr lang="es-CL" sz="2200" dirty="0">
                <a:solidFill>
                  <a:srgbClr val="00B050"/>
                </a:solidFill>
                <a:latin typeface="ACHS Nueva Serif" pitchFamily="2" charset="77"/>
              </a:rPr>
              <a:t/>
            </a:r>
            <a:br>
              <a:rPr lang="es-CL" sz="2200" dirty="0">
                <a:solidFill>
                  <a:srgbClr val="00B050"/>
                </a:solidFill>
                <a:latin typeface="ACHS Nueva Serif" pitchFamily="2" charset="77"/>
              </a:rPr>
            </a:br>
            <a:r>
              <a:rPr lang="es-CL" sz="2200" dirty="0">
                <a:solidFill>
                  <a:srgbClr val="0C662F"/>
                </a:solidFill>
                <a:latin typeface="ACHS Nueva Serif" pitchFamily="2" charset="77"/>
              </a:rPr>
              <a:t>Carpintero de moldaje</a:t>
            </a:r>
          </a:p>
        </p:txBody>
      </p:sp>
      <p:pic>
        <p:nvPicPr>
          <p:cNvPr id="20" name="Imagen 2">
            <a:extLst>
              <a:ext uri="{FF2B5EF4-FFF2-40B4-BE49-F238E27FC236}">
                <a16:creationId xmlns:a16="http://schemas.microsoft.com/office/drawing/2014/main" xmlns="" id="{52F1F040-D410-9049-AA42-ADE2D2F5A24D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881" r="-1"/>
          <a:stretch/>
        </p:blipFill>
        <p:spPr>
          <a:xfrm>
            <a:off x="4530156" y="1506549"/>
            <a:ext cx="7663432" cy="5383249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393135056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2004" y="1210"/>
          <a:ext cx="1210" cy="12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9850" name="Diapositiva de think-cell" r:id="rId6" imgW="415" imgH="416" progId="TCLayout.ActiveDocument.1">
                  <p:embed/>
                </p:oleObj>
              </mc:Choice>
              <mc:Fallback>
                <p:oleObj name="Diapositiva de think-cell" r:id="rId6" imgW="415" imgH="416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004" y="1210"/>
                        <a:ext cx="1210" cy="121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ángulo 20">
            <a:extLst>
              <a:ext uri="{FF2B5EF4-FFF2-40B4-BE49-F238E27FC236}">
                <a16:creationId xmlns:a16="http://schemas.microsoft.com/office/drawing/2014/main" xmlns="" id="{F2C1D471-7FB4-1A4F-8ABB-CF6A49231880}"/>
              </a:ext>
            </a:extLst>
          </p:cNvPr>
          <p:cNvSpPr/>
          <p:nvPr/>
        </p:nvSpPr>
        <p:spPr>
          <a:xfrm>
            <a:off x="1" y="159"/>
            <a:ext cx="6096794" cy="6858893"/>
          </a:xfrm>
          <a:prstGeom prst="rect">
            <a:avLst/>
          </a:prstGeom>
          <a:solidFill>
            <a:srgbClr val="EBE9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372" dirty="0"/>
          </a:p>
        </p:txBody>
      </p:sp>
      <p:sp>
        <p:nvSpPr>
          <p:cNvPr id="17" name="Título 30">
            <a:extLst>
              <a:ext uri="{FF2B5EF4-FFF2-40B4-BE49-F238E27FC236}">
                <a16:creationId xmlns:a16="http://schemas.microsoft.com/office/drawing/2014/main" xmlns="" id="{89C2668A-2F0C-D142-9FEA-AD15574C842A}"/>
              </a:ext>
            </a:extLst>
          </p:cNvPr>
          <p:cNvSpPr txBox="1">
            <a:spLocks/>
          </p:cNvSpPr>
          <p:nvPr/>
        </p:nvSpPr>
        <p:spPr>
          <a:xfrm>
            <a:off x="-1171794" y="494999"/>
            <a:ext cx="4711019" cy="464911"/>
          </a:xfrm>
          <a:prstGeom prst="rect">
            <a:avLst/>
          </a:prstGeom>
        </p:spPr>
        <p:txBody>
          <a:bodyPr vert="horz" lIns="109742" tIns="54871" rIns="109742" bIns="54871" rtlCol="0" anchor="ctr">
            <a:normAutofit/>
          </a:bodyPr>
          <a:lstStyle>
            <a:lvl1pPr algn="ctr" defTabSz="1422402" rtl="0" eaLnBrk="1" latinLnBrk="0" hangingPunct="1">
              <a:spcBef>
                <a:spcPct val="0"/>
              </a:spcBef>
              <a:buNone/>
              <a:defRPr sz="6815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000" dirty="0">
                <a:solidFill>
                  <a:srgbClr val="15BF45"/>
                </a:solidFill>
                <a:latin typeface="ACHS Nueva Serif" pitchFamily="2" charset="77"/>
                <a:cs typeface="Arial" panose="020B0604020202020204" pitchFamily="34" charset="0"/>
              </a:rPr>
              <a:t>Objetivos</a:t>
            </a:r>
          </a:p>
        </p:txBody>
      </p:sp>
      <p:pic>
        <p:nvPicPr>
          <p:cNvPr id="21" name="Imagen 5">
            <a:extLst>
              <a:ext uri="{FF2B5EF4-FFF2-40B4-BE49-F238E27FC236}">
                <a16:creationId xmlns:a16="http://schemas.microsoft.com/office/drawing/2014/main" xmlns="" id="{943C5505-1BB2-2642-A7D9-9758B4964D8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56681" y="497023"/>
            <a:ext cx="1239794" cy="506480"/>
          </a:xfrm>
          <a:prstGeom prst="rect">
            <a:avLst/>
          </a:prstGeom>
        </p:spPr>
      </p:pic>
      <p:cxnSp>
        <p:nvCxnSpPr>
          <p:cNvPr id="22" name="Conector recto 6">
            <a:extLst>
              <a:ext uri="{FF2B5EF4-FFF2-40B4-BE49-F238E27FC236}">
                <a16:creationId xmlns:a16="http://schemas.microsoft.com/office/drawing/2014/main" xmlns="" id="{A5524B1C-5EA3-7A44-A85C-8DEEB3A98244}"/>
              </a:ext>
            </a:extLst>
          </p:cNvPr>
          <p:cNvCxnSpPr/>
          <p:nvPr/>
        </p:nvCxnSpPr>
        <p:spPr>
          <a:xfrm>
            <a:off x="511867" y="363806"/>
            <a:ext cx="1629316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3" name="21 Rectángulo">
            <a:extLst>
              <a:ext uri="{FF2B5EF4-FFF2-40B4-BE49-F238E27FC236}">
                <a16:creationId xmlns:a16="http://schemas.microsoft.com/office/drawing/2014/main" xmlns="" id="{79B4DAF1-4A59-1948-BA2D-74A9093A1937}"/>
              </a:ext>
            </a:extLst>
          </p:cNvPr>
          <p:cNvSpPr/>
          <p:nvPr/>
        </p:nvSpPr>
        <p:spPr>
          <a:xfrm>
            <a:off x="1128352" y="2979594"/>
            <a:ext cx="3519302" cy="348511"/>
          </a:xfrm>
          <a:prstGeom prst="rect">
            <a:avLst/>
          </a:prstGeom>
        </p:spPr>
        <p:txBody>
          <a:bodyPr wrap="square" lIns="69669" tIns="35986" rIns="69669" bIns="34834">
            <a:spAutoFit/>
          </a:bodyPr>
          <a:lstStyle/>
          <a:p>
            <a:pPr defTabSz="914031">
              <a:defRPr/>
            </a:pPr>
            <a:r>
              <a:rPr lang="es-ES" sz="1800" b="1" dirty="0">
                <a:solidFill>
                  <a:srgbClr val="0C693C"/>
                </a:solidFill>
                <a:latin typeface="ACHS Nueva Serif" pitchFamily="2" charset="77"/>
                <a:cs typeface="Arial" panose="020B0604020202020204" pitchFamily="34" charset="0"/>
                <a:sym typeface="Helvetica Neue"/>
              </a:rPr>
              <a:t>OBJETIVO:</a:t>
            </a:r>
          </a:p>
        </p:txBody>
      </p:sp>
      <p:sp>
        <p:nvSpPr>
          <p:cNvPr id="24" name="18 Rectángulo">
            <a:extLst>
              <a:ext uri="{FF2B5EF4-FFF2-40B4-BE49-F238E27FC236}">
                <a16:creationId xmlns:a16="http://schemas.microsoft.com/office/drawing/2014/main" xmlns="" id="{1586C181-63A9-6443-B7EC-C750DF61B73B}"/>
              </a:ext>
            </a:extLst>
          </p:cNvPr>
          <p:cNvSpPr/>
          <p:nvPr/>
        </p:nvSpPr>
        <p:spPr>
          <a:xfrm>
            <a:off x="6748367" y="3438203"/>
            <a:ext cx="4749457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sz="1500" dirty="0">
                <a:latin typeface="ACHS Nueva Sans Medium" pitchFamily="2" charset="77"/>
              </a:rPr>
              <a:t>Ser trabajador de empresas que se               encuentra adheridas a la ACHS.</a:t>
            </a:r>
            <a:endParaRPr lang="es-CL" sz="1500" dirty="0">
              <a:latin typeface="ACHS Nueva Sans Medium" pitchFamily="2" charset="77"/>
              <a:sym typeface="Helvetica" charset="0"/>
            </a:endParaRPr>
          </a:p>
          <a:p>
            <a:pPr marL="285750" indent="-285750">
              <a:buClr>
                <a:srgbClr val="15C047"/>
              </a:buClr>
              <a:buFont typeface="Arial" panose="020B0604020202020204" pitchFamily="34" charset="0"/>
              <a:buChar char="•"/>
            </a:pPr>
            <a:endParaRPr lang="es-ES" sz="1500" dirty="0">
              <a:latin typeface="ACHS Nueva Sans Medium" pitchFamily="2" charset="77"/>
              <a:cs typeface="Arial" panose="020B0604020202020204" pitchFamily="34" charset="0"/>
            </a:endParaRPr>
          </a:p>
        </p:txBody>
      </p:sp>
      <p:sp>
        <p:nvSpPr>
          <p:cNvPr id="25" name="21 Rectángulo">
            <a:extLst>
              <a:ext uri="{FF2B5EF4-FFF2-40B4-BE49-F238E27FC236}">
                <a16:creationId xmlns:a16="http://schemas.microsoft.com/office/drawing/2014/main" xmlns="" id="{8D26C1E1-F3E6-1440-AE74-E07A18A45D03}"/>
              </a:ext>
            </a:extLst>
          </p:cNvPr>
          <p:cNvSpPr/>
          <p:nvPr/>
        </p:nvSpPr>
        <p:spPr>
          <a:xfrm>
            <a:off x="1128353" y="3446862"/>
            <a:ext cx="4306696" cy="12464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sz="1500" dirty="0">
                <a:latin typeface="ACHS Nueva Sans Medium" pitchFamily="2" charset="77"/>
              </a:rPr>
              <a:t>Conocer las diversas superficies utilizadas para realizar trabajos en altura en labores de carpintería y las medidas preventivas que deben considerarse.</a:t>
            </a:r>
          </a:p>
          <a:p>
            <a:pPr marL="285750" indent="-285750">
              <a:buClr>
                <a:srgbClr val="15C047"/>
              </a:buClr>
              <a:buFont typeface="Arial" panose="020B0604020202020204" pitchFamily="34" charset="0"/>
              <a:buChar char="•"/>
            </a:pPr>
            <a:endParaRPr lang="es-ES" sz="1500" dirty="0">
              <a:latin typeface="ACHS Nueva Sans Medium" pitchFamily="2" charset="77"/>
              <a:cs typeface="Arial" panose="020B0604020202020204" pitchFamily="34" charset="0"/>
            </a:endParaRPr>
          </a:p>
        </p:txBody>
      </p:sp>
      <p:sp>
        <p:nvSpPr>
          <p:cNvPr id="26" name="21 Rectángulo">
            <a:extLst>
              <a:ext uri="{FF2B5EF4-FFF2-40B4-BE49-F238E27FC236}">
                <a16:creationId xmlns:a16="http://schemas.microsoft.com/office/drawing/2014/main" xmlns="" id="{2FCC7E16-D659-6845-B2F9-1A92C54C0882}"/>
              </a:ext>
            </a:extLst>
          </p:cNvPr>
          <p:cNvSpPr/>
          <p:nvPr/>
        </p:nvSpPr>
        <p:spPr>
          <a:xfrm>
            <a:off x="6752027" y="2970936"/>
            <a:ext cx="3519302" cy="348511"/>
          </a:xfrm>
          <a:prstGeom prst="rect">
            <a:avLst/>
          </a:prstGeom>
        </p:spPr>
        <p:txBody>
          <a:bodyPr wrap="square" lIns="69669" tIns="35986" rIns="69669" bIns="34834">
            <a:spAutoFit/>
          </a:bodyPr>
          <a:lstStyle/>
          <a:p>
            <a:pPr defTabSz="914031">
              <a:defRPr/>
            </a:pPr>
            <a:r>
              <a:rPr lang="es-ES" sz="1800" b="1" dirty="0">
                <a:solidFill>
                  <a:srgbClr val="0C693C"/>
                </a:solidFill>
                <a:latin typeface="ACHS Nueva Serif" pitchFamily="2" charset="77"/>
                <a:cs typeface="Arial" panose="020B0604020202020204" pitchFamily="34" charset="0"/>
                <a:sym typeface="Helvetica Neue"/>
              </a:rPr>
              <a:t>PÚBLICO OBJETIVO:</a:t>
            </a: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xmlns="" id="{6EF3BD3C-5F35-9A4E-8F40-ACA25BCF7F4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124929" y="1892216"/>
            <a:ext cx="788315" cy="775600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xmlns="" id="{6833652C-8023-CF4F-A487-D7AEB6447410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748366" y="1859232"/>
            <a:ext cx="801030" cy="80103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2655018747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2004" y="1210"/>
          <a:ext cx="1210" cy="12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37" name="Diapositiva de think-cell" r:id="rId6" imgW="415" imgH="416" progId="TCLayout.ActiveDocument.1">
                  <p:embed/>
                </p:oleObj>
              </mc:Choice>
              <mc:Fallback>
                <p:oleObj name="Diapositiva de think-cell" r:id="rId6" imgW="415" imgH="416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004" y="1210"/>
                        <a:ext cx="1210" cy="121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Marcador de texto 31">
            <a:extLst>
              <a:ext uri="{FF2B5EF4-FFF2-40B4-BE49-F238E27FC236}">
                <a16:creationId xmlns:a16="http://schemas.microsoft.com/office/drawing/2014/main" xmlns="" id="{4ADE0794-14A4-A447-A3CE-F6F80E75CEB7}"/>
              </a:ext>
            </a:extLst>
          </p:cNvPr>
          <p:cNvSpPr txBox="1">
            <a:spLocks/>
          </p:cNvSpPr>
          <p:nvPr/>
        </p:nvSpPr>
        <p:spPr>
          <a:xfrm>
            <a:off x="568550" y="1468228"/>
            <a:ext cx="3295996" cy="7073340"/>
          </a:xfrm>
          <a:prstGeom prst="rect">
            <a:avLst/>
          </a:prstGeom>
        </p:spPr>
        <p:txBody>
          <a:bodyPr>
            <a:norm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110000"/>
              </a:lnSpc>
              <a:spcBef>
                <a:spcPts val="200"/>
              </a:spcBef>
              <a:buClr>
                <a:srgbClr val="15C047"/>
              </a:buClr>
              <a:buFont typeface="Arial" panose="020B0604020202020204" pitchFamily="34" charset="0"/>
              <a:buChar char="•"/>
              <a:defRPr/>
            </a:pPr>
            <a:r>
              <a:rPr lang="es-CL" altLang="es-CL" sz="1500" dirty="0">
                <a:latin typeface="ACHS Nueva Sans Medium" pitchFamily="2" charset="77"/>
              </a:rPr>
              <a:t>Nunca armar los andamios cerca de conductores eléctricos, se debe establecer una distancia de seguridad mínima de 5 m. Lo mismo aplica para el traslado de los andamios móviles.</a:t>
            </a:r>
          </a:p>
          <a:p>
            <a:pPr>
              <a:lnSpc>
                <a:spcPct val="110000"/>
              </a:lnSpc>
              <a:spcBef>
                <a:spcPts val="200"/>
              </a:spcBef>
              <a:buClr>
                <a:srgbClr val="15C047"/>
              </a:buClr>
              <a:buFont typeface="Arial" panose="020B0604020202020204" pitchFamily="34" charset="0"/>
              <a:buChar char="•"/>
              <a:defRPr/>
            </a:pPr>
            <a:endParaRPr lang="es-CL" altLang="es-CL" sz="1500" dirty="0">
              <a:latin typeface="ACHS Nueva Sans Medium" pitchFamily="2" charset="77"/>
            </a:endParaRPr>
          </a:p>
          <a:p>
            <a:pPr>
              <a:lnSpc>
                <a:spcPct val="110000"/>
              </a:lnSpc>
              <a:spcBef>
                <a:spcPts val="200"/>
              </a:spcBef>
              <a:buClr>
                <a:srgbClr val="15C047"/>
              </a:buClr>
              <a:buFont typeface="Arial" panose="020B0604020202020204" pitchFamily="34" charset="0"/>
              <a:buChar char="•"/>
              <a:defRPr/>
            </a:pPr>
            <a:r>
              <a:rPr lang="es-CL" altLang="es-CL" sz="1500" dirty="0">
                <a:latin typeface="ACHS Nueva Sans Medium" pitchFamily="2" charset="77"/>
              </a:rPr>
              <a:t>No se permite el uso de andamios con partes rotas, dobladas, corroídas o que no aseguren la integridad de              la estructura.</a:t>
            </a:r>
          </a:p>
          <a:p>
            <a:pPr>
              <a:lnSpc>
                <a:spcPct val="110000"/>
              </a:lnSpc>
              <a:spcBef>
                <a:spcPts val="200"/>
              </a:spcBef>
              <a:buClr>
                <a:srgbClr val="15C047"/>
              </a:buClr>
              <a:buFont typeface="Arial" panose="020B0604020202020204" pitchFamily="34" charset="0"/>
              <a:buChar char="•"/>
              <a:defRPr/>
            </a:pPr>
            <a:endParaRPr lang="es-CL" altLang="es-CL" sz="1500" dirty="0">
              <a:latin typeface="ACHS Nueva Sans Medium" pitchFamily="2" charset="77"/>
            </a:endParaRPr>
          </a:p>
          <a:p>
            <a:pPr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Font typeface="Arial" panose="020B0604020202020204" pitchFamily="34" charset="0"/>
              <a:buChar char="•"/>
              <a:defRPr/>
            </a:pPr>
            <a:endParaRPr lang="es-CL" altLang="es-CL" sz="1500" dirty="0"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None/>
              <a:defRPr/>
            </a:pPr>
            <a:endParaRPr lang="es-CL" altLang="es-CL" sz="1500" dirty="0"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None/>
            </a:pPr>
            <a:endParaRPr lang="es-CL" altLang="es-CL" sz="1500" dirty="0">
              <a:latin typeface="ACHS Nueva Sans Medium" pitchFamily="2" charset="77"/>
            </a:endParaRPr>
          </a:p>
          <a:p>
            <a:pPr algn="just">
              <a:lnSpc>
                <a:spcPct val="100000"/>
              </a:lnSpc>
              <a:spcBef>
                <a:spcPts val="914"/>
              </a:spcBef>
              <a:buClr>
                <a:srgbClr val="83B827"/>
              </a:buClr>
              <a:buSzPct val="100000"/>
              <a:buFont typeface="Arial" panose="020B0604020202020204" pitchFamily="34" charset="0"/>
              <a:buChar char="•"/>
            </a:pPr>
            <a:endParaRPr lang="es-CL" altLang="es-CL" sz="1500" kern="0" dirty="0">
              <a:solidFill>
                <a:srgbClr val="8A8A8A">
                  <a:lumMod val="75000"/>
                </a:srgbClr>
              </a:solidFill>
            </a:endParaRPr>
          </a:p>
        </p:txBody>
      </p:sp>
      <p:pic>
        <p:nvPicPr>
          <p:cNvPr id="16" name="Imagen 5">
            <a:extLst>
              <a:ext uri="{FF2B5EF4-FFF2-40B4-BE49-F238E27FC236}">
                <a16:creationId xmlns:a16="http://schemas.microsoft.com/office/drawing/2014/main" xmlns="" id="{CF3CD029-EC98-2947-B54F-1D20E2D4CA5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56681" y="497023"/>
            <a:ext cx="1239794" cy="506480"/>
          </a:xfrm>
          <a:prstGeom prst="rect">
            <a:avLst/>
          </a:prstGeom>
        </p:spPr>
      </p:pic>
      <p:cxnSp>
        <p:nvCxnSpPr>
          <p:cNvPr id="17" name="Conector recto 6">
            <a:extLst>
              <a:ext uri="{FF2B5EF4-FFF2-40B4-BE49-F238E27FC236}">
                <a16:creationId xmlns:a16="http://schemas.microsoft.com/office/drawing/2014/main" xmlns="" id="{4AB56735-ABF3-D44D-B995-FB63F495D23F}"/>
              </a:ext>
            </a:extLst>
          </p:cNvPr>
          <p:cNvCxnSpPr/>
          <p:nvPr/>
        </p:nvCxnSpPr>
        <p:spPr>
          <a:xfrm>
            <a:off x="511867" y="363806"/>
            <a:ext cx="1629316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9" name="Título 30">
            <a:extLst>
              <a:ext uri="{FF2B5EF4-FFF2-40B4-BE49-F238E27FC236}">
                <a16:creationId xmlns:a16="http://schemas.microsoft.com/office/drawing/2014/main" xmlns="" id="{E7B7D19B-C2A5-FC4E-AB4F-17E3D77908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550" y="719469"/>
            <a:ext cx="5433730" cy="464608"/>
          </a:xfrm>
        </p:spPr>
        <p:txBody>
          <a:bodyPr vert="horz">
            <a:normAutofit fontScale="90000"/>
          </a:bodyPr>
          <a:lstStyle/>
          <a:p>
            <a:pPr>
              <a:lnSpc>
                <a:spcPct val="100000"/>
              </a:lnSpc>
            </a:pPr>
            <a:r>
              <a:rPr lang="es-CL" sz="2200" kern="0" dirty="0">
                <a:solidFill>
                  <a:srgbClr val="00B050"/>
                </a:solidFill>
                <a:latin typeface="ACHS Nueva Serif" pitchFamily="2" charset="77"/>
              </a:rPr>
              <a:t>Medidas preventivas al borde de andamios</a:t>
            </a:r>
            <a:r>
              <a:rPr lang="es-CL" sz="2200" dirty="0">
                <a:solidFill>
                  <a:srgbClr val="00B050"/>
                </a:solidFill>
                <a:latin typeface="ACHS Nueva Serif" pitchFamily="2" charset="77"/>
              </a:rPr>
              <a:t/>
            </a:r>
            <a:br>
              <a:rPr lang="es-CL" sz="2200" dirty="0">
                <a:solidFill>
                  <a:srgbClr val="00B050"/>
                </a:solidFill>
                <a:latin typeface="ACHS Nueva Serif" pitchFamily="2" charset="77"/>
              </a:rPr>
            </a:br>
            <a:r>
              <a:rPr lang="es-CL" sz="2200" dirty="0">
                <a:solidFill>
                  <a:srgbClr val="0C662F"/>
                </a:solidFill>
                <a:latin typeface="ACHS Nueva Serif" pitchFamily="2" charset="77"/>
              </a:rPr>
              <a:t>Carpintero de moldaje</a:t>
            </a:r>
          </a:p>
        </p:txBody>
      </p:sp>
      <p:pic>
        <p:nvPicPr>
          <p:cNvPr id="8" name="Imagen 2">
            <a:extLst>
              <a:ext uri="{FF2B5EF4-FFF2-40B4-BE49-F238E27FC236}">
                <a16:creationId xmlns:a16="http://schemas.microsoft.com/office/drawing/2014/main" xmlns="" id="{5FA2F4E6-4E6E-AF4C-B90A-71CD7A994EF3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881" r="-1"/>
          <a:stretch/>
        </p:blipFill>
        <p:spPr>
          <a:xfrm>
            <a:off x="4530156" y="1506549"/>
            <a:ext cx="7663432" cy="5383249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776447865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2004" y="1210"/>
          <a:ext cx="1210" cy="12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261" name="Diapositiva de think-cell" r:id="rId6" imgW="415" imgH="416" progId="TCLayout.ActiveDocument.1">
                  <p:embed/>
                </p:oleObj>
              </mc:Choice>
              <mc:Fallback>
                <p:oleObj name="Diapositiva de think-cell" r:id="rId6" imgW="415" imgH="416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004" y="1210"/>
                        <a:ext cx="1210" cy="121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Título 30">
            <a:extLst>
              <a:ext uri="{FF2B5EF4-FFF2-40B4-BE49-F238E27FC236}">
                <a16:creationId xmlns:a16="http://schemas.microsoft.com/office/drawing/2014/main" xmlns="" id="{80832A9A-ADDB-E845-8443-9D1670CD83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550" y="634772"/>
            <a:ext cx="7792850" cy="464608"/>
          </a:xfrm>
        </p:spPr>
        <p:txBody>
          <a:bodyPr vert="horz">
            <a:normAutofit/>
          </a:bodyPr>
          <a:lstStyle/>
          <a:p>
            <a:r>
              <a:rPr lang="es-CL" sz="2000" dirty="0">
                <a:solidFill>
                  <a:srgbClr val="15BF45"/>
                </a:solidFill>
                <a:latin typeface="ACHS Nueva Serif" pitchFamily="2" charset="77"/>
              </a:rPr>
              <a:t>Uso de elementos de protección personal</a:t>
            </a:r>
          </a:p>
        </p:txBody>
      </p:sp>
      <p:sp>
        <p:nvSpPr>
          <p:cNvPr id="132" name="Google Shape;1428;p39">
            <a:extLst>
              <a:ext uri="{FF2B5EF4-FFF2-40B4-BE49-F238E27FC236}">
                <a16:creationId xmlns:a16="http://schemas.microsoft.com/office/drawing/2014/main" xmlns="" id="{65BEBB2C-C9FC-894F-BBCF-F3374164C518}"/>
              </a:ext>
            </a:extLst>
          </p:cNvPr>
          <p:cNvSpPr/>
          <p:nvPr/>
        </p:nvSpPr>
        <p:spPr>
          <a:xfrm>
            <a:off x="2620313" y="4497448"/>
            <a:ext cx="2917832" cy="751481"/>
          </a:xfrm>
          <a:prstGeom prst="rect">
            <a:avLst/>
          </a:prstGeom>
          <a:solidFill>
            <a:srgbClr val="15BF45"/>
          </a:solidFill>
          <a:ln>
            <a:noFill/>
          </a:ln>
        </p:spPr>
        <p:txBody>
          <a:bodyPr spcFirstLastPara="1" wrap="square" lIns="900000" tIns="0" rIns="0" bIns="0" anchor="ctr" anchorCtr="0">
            <a:noAutofit/>
          </a:bodyPr>
          <a:lstStyle/>
          <a:p>
            <a:pPr>
              <a:buClr>
                <a:srgbClr val="004B54"/>
              </a:buClr>
              <a:buSzPct val="100000"/>
            </a:pPr>
            <a:endParaRPr lang="es-CL" sz="1400" kern="0" dirty="0">
              <a:solidFill>
                <a:srgbClr val="15C047"/>
              </a:solidFill>
              <a:latin typeface="ACHS Nueva Sans Medium" pitchFamily="2" charset="77"/>
            </a:endParaRPr>
          </a:p>
        </p:txBody>
      </p:sp>
      <p:sp>
        <p:nvSpPr>
          <p:cNvPr id="133" name="Google Shape;1431;p39">
            <a:extLst>
              <a:ext uri="{FF2B5EF4-FFF2-40B4-BE49-F238E27FC236}">
                <a16:creationId xmlns:a16="http://schemas.microsoft.com/office/drawing/2014/main" xmlns="" id="{CF95C08E-5C14-EB47-8F88-9409B19392E9}"/>
              </a:ext>
            </a:extLst>
          </p:cNvPr>
          <p:cNvSpPr/>
          <p:nvPr/>
        </p:nvSpPr>
        <p:spPr>
          <a:xfrm>
            <a:off x="2220838" y="4494032"/>
            <a:ext cx="755195" cy="755195"/>
          </a:xfrm>
          <a:prstGeom prst="ellipse">
            <a:avLst/>
          </a:prstGeom>
          <a:solidFill>
            <a:srgbClr val="E9EADD"/>
          </a:solidFill>
          <a:ln>
            <a:noFill/>
          </a:ln>
        </p:spPr>
        <p:txBody>
          <a:bodyPr spcFirstLastPara="1" wrap="square" lIns="72000" tIns="72000" rIns="72000" bIns="72000" anchor="t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1200"/>
              <a:buFont typeface="Arial"/>
              <a:buNone/>
              <a:tabLst/>
              <a:defRPr/>
            </a:pPr>
            <a:endParaRPr kumimoji="0" sz="1200" b="0" i="0" u="none" strike="noStrike" kern="0" cap="none" spc="0" normalizeH="0" baseline="0" noProof="0" dirty="0">
              <a:ln>
                <a:noFill/>
              </a:ln>
              <a:solidFill>
                <a:srgbClr val="616161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35" name="Group 134">
            <a:extLst>
              <a:ext uri="{FF2B5EF4-FFF2-40B4-BE49-F238E27FC236}">
                <a16:creationId xmlns:a16="http://schemas.microsoft.com/office/drawing/2014/main" xmlns="" id="{198142B0-5297-DC4A-AC0F-2B80D1E1E104}"/>
              </a:ext>
            </a:extLst>
          </p:cNvPr>
          <p:cNvGrpSpPr/>
          <p:nvPr/>
        </p:nvGrpSpPr>
        <p:grpSpPr>
          <a:xfrm>
            <a:off x="6224698" y="1608773"/>
            <a:ext cx="3317307" cy="755195"/>
            <a:chOff x="1952903" y="1458479"/>
            <a:chExt cx="3317307" cy="755195"/>
          </a:xfrm>
        </p:grpSpPr>
        <p:sp>
          <p:nvSpPr>
            <p:cNvPr id="136" name="Google Shape;1428;p39">
              <a:extLst>
                <a:ext uri="{FF2B5EF4-FFF2-40B4-BE49-F238E27FC236}">
                  <a16:creationId xmlns:a16="http://schemas.microsoft.com/office/drawing/2014/main" xmlns="" id="{EF7965E5-49AC-BF42-9620-B6AFC85A93CD}"/>
                </a:ext>
              </a:extLst>
            </p:cNvPr>
            <p:cNvSpPr/>
            <p:nvPr/>
          </p:nvSpPr>
          <p:spPr>
            <a:xfrm>
              <a:off x="2352378" y="1461895"/>
              <a:ext cx="2917832" cy="751481"/>
            </a:xfrm>
            <a:prstGeom prst="rect">
              <a:avLst/>
            </a:prstGeom>
            <a:solidFill>
              <a:srgbClr val="15BF45"/>
            </a:solidFill>
            <a:ln>
              <a:noFill/>
            </a:ln>
          </p:spPr>
          <p:txBody>
            <a:bodyPr spcFirstLastPara="1" wrap="square" lIns="900000" tIns="0" rIns="0" bIns="0" anchor="ctr" anchorCtr="0">
              <a:noAutofit/>
            </a:bodyPr>
            <a:lstStyle/>
            <a:p>
              <a:pPr>
                <a:buClr>
                  <a:srgbClr val="004B54"/>
                </a:buClr>
                <a:buSzPct val="100000"/>
              </a:pPr>
              <a:endParaRPr lang="es-CL" sz="1400" kern="0" dirty="0">
                <a:solidFill>
                  <a:srgbClr val="15C047"/>
                </a:solidFill>
                <a:latin typeface="ACHS Nueva Sans Medium" pitchFamily="2" charset="77"/>
              </a:endParaRPr>
            </a:p>
          </p:txBody>
        </p:sp>
        <p:sp>
          <p:nvSpPr>
            <p:cNvPr id="137" name="Google Shape;1431;p39">
              <a:extLst>
                <a:ext uri="{FF2B5EF4-FFF2-40B4-BE49-F238E27FC236}">
                  <a16:creationId xmlns:a16="http://schemas.microsoft.com/office/drawing/2014/main" xmlns="" id="{88DE27B2-BAAA-B243-8A7E-64B93D956BDE}"/>
                </a:ext>
              </a:extLst>
            </p:cNvPr>
            <p:cNvSpPr/>
            <p:nvPr/>
          </p:nvSpPr>
          <p:spPr>
            <a:xfrm>
              <a:off x="1952903" y="1458479"/>
              <a:ext cx="755195" cy="755195"/>
            </a:xfrm>
            <a:prstGeom prst="ellipse">
              <a:avLst/>
            </a:prstGeom>
            <a:solidFill>
              <a:srgbClr val="E9EADD"/>
            </a:solidFill>
            <a:ln>
              <a:noFill/>
            </a:ln>
          </p:spPr>
          <p:txBody>
            <a:bodyPr spcFirstLastPara="1" wrap="square" lIns="72000" tIns="72000" rIns="72000" bIns="72000" anchor="t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F3F3F"/>
                </a:buClr>
                <a:buSzPts val="1200"/>
                <a:buFont typeface="Arial"/>
                <a:buNone/>
                <a:tabLst/>
                <a:defRPr/>
              </a:pPr>
              <a:endParaRPr kumimoji="0" sz="1200" b="0" i="0" u="none" strike="noStrike" kern="0" cap="none" spc="0" normalizeH="0" baseline="0" noProof="0" dirty="0">
                <a:ln>
                  <a:noFill/>
                </a:ln>
                <a:solidFill>
                  <a:srgbClr val="616161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39" name="Group 138">
            <a:extLst>
              <a:ext uri="{FF2B5EF4-FFF2-40B4-BE49-F238E27FC236}">
                <a16:creationId xmlns:a16="http://schemas.microsoft.com/office/drawing/2014/main" xmlns="" id="{121DA279-D682-6E49-B377-86DD2ED42B6D}"/>
              </a:ext>
            </a:extLst>
          </p:cNvPr>
          <p:cNvGrpSpPr/>
          <p:nvPr/>
        </p:nvGrpSpPr>
        <p:grpSpPr>
          <a:xfrm>
            <a:off x="6234528" y="2561390"/>
            <a:ext cx="3317307" cy="755195"/>
            <a:chOff x="1952903" y="1458479"/>
            <a:chExt cx="3317307" cy="755195"/>
          </a:xfrm>
        </p:grpSpPr>
        <p:sp>
          <p:nvSpPr>
            <p:cNvPr id="140" name="Google Shape;1428;p39">
              <a:extLst>
                <a:ext uri="{FF2B5EF4-FFF2-40B4-BE49-F238E27FC236}">
                  <a16:creationId xmlns:a16="http://schemas.microsoft.com/office/drawing/2014/main" xmlns="" id="{CACE72DB-9D14-2C4D-9B3F-8D1781B9A972}"/>
                </a:ext>
              </a:extLst>
            </p:cNvPr>
            <p:cNvSpPr/>
            <p:nvPr/>
          </p:nvSpPr>
          <p:spPr>
            <a:xfrm>
              <a:off x="2352378" y="1461895"/>
              <a:ext cx="2917832" cy="751481"/>
            </a:xfrm>
            <a:prstGeom prst="rect">
              <a:avLst/>
            </a:prstGeom>
            <a:solidFill>
              <a:srgbClr val="15BF45"/>
            </a:solidFill>
            <a:ln>
              <a:noFill/>
            </a:ln>
          </p:spPr>
          <p:txBody>
            <a:bodyPr spcFirstLastPara="1" wrap="square" lIns="900000" tIns="0" rIns="0" bIns="0" anchor="ctr" anchorCtr="0">
              <a:noAutofit/>
            </a:bodyPr>
            <a:lstStyle/>
            <a:p>
              <a:pPr>
                <a:buClr>
                  <a:srgbClr val="004B54"/>
                </a:buClr>
                <a:buSzPct val="100000"/>
              </a:pPr>
              <a:endParaRPr lang="es-CL" sz="1400" kern="0" dirty="0">
                <a:solidFill>
                  <a:srgbClr val="15C047"/>
                </a:solidFill>
                <a:latin typeface="ACHS Nueva Sans Medium" pitchFamily="2" charset="77"/>
              </a:endParaRPr>
            </a:p>
          </p:txBody>
        </p:sp>
        <p:sp>
          <p:nvSpPr>
            <p:cNvPr id="141" name="Google Shape;1431;p39">
              <a:extLst>
                <a:ext uri="{FF2B5EF4-FFF2-40B4-BE49-F238E27FC236}">
                  <a16:creationId xmlns:a16="http://schemas.microsoft.com/office/drawing/2014/main" xmlns="" id="{87D45CF6-3066-8E40-AAB3-8F926E7F7E58}"/>
                </a:ext>
              </a:extLst>
            </p:cNvPr>
            <p:cNvSpPr/>
            <p:nvPr/>
          </p:nvSpPr>
          <p:spPr>
            <a:xfrm>
              <a:off x="1952903" y="1458479"/>
              <a:ext cx="755195" cy="755195"/>
            </a:xfrm>
            <a:prstGeom prst="ellipse">
              <a:avLst/>
            </a:prstGeom>
            <a:solidFill>
              <a:srgbClr val="E9EADD"/>
            </a:solidFill>
            <a:ln>
              <a:noFill/>
            </a:ln>
          </p:spPr>
          <p:txBody>
            <a:bodyPr spcFirstLastPara="1" wrap="square" lIns="72000" tIns="72000" rIns="72000" bIns="72000" anchor="t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F3F3F"/>
                </a:buClr>
                <a:buSzPts val="1200"/>
                <a:buFont typeface="Arial"/>
                <a:buNone/>
                <a:tabLst/>
                <a:defRPr/>
              </a:pPr>
              <a:endParaRPr kumimoji="0" sz="1200" b="0" i="0" u="none" strike="noStrike" kern="0" cap="none" spc="0" normalizeH="0" baseline="0" noProof="0" dirty="0">
                <a:ln>
                  <a:noFill/>
                </a:ln>
                <a:solidFill>
                  <a:srgbClr val="616161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43" name="Group 142">
            <a:extLst>
              <a:ext uri="{FF2B5EF4-FFF2-40B4-BE49-F238E27FC236}">
                <a16:creationId xmlns:a16="http://schemas.microsoft.com/office/drawing/2014/main" xmlns="" id="{F1EF2D95-1590-4441-B312-B1F1B4B18821}"/>
              </a:ext>
            </a:extLst>
          </p:cNvPr>
          <p:cNvGrpSpPr/>
          <p:nvPr/>
        </p:nvGrpSpPr>
        <p:grpSpPr>
          <a:xfrm>
            <a:off x="6224698" y="3507584"/>
            <a:ext cx="3317307" cy="755195"/>
            <a:chOff x="1952903" y="1458479"/>
            <a:chExt cx="3317307" cy="755195"/>
          </a:xfrm>
        </p:grpSpPr>
        <p:sp>
          <p:nvSpPr>
            <p:cNvPr id="144" name="Google Shape;1428;p39">
              <a:extLst>
                <a:ext uri="{FF2B5EF4-FFF2-40B4-BE49-F238E27FC236}">
                  <a16:creationId xmlns:a16="http://schemas.microsoft.com/office/drawing/2014/main" xmlns="" id="{C503E7BC-E1D3-BD4E-A21D-3E33C1FECB31}"/>
                </a:ext>
              </a:extLst>
            </p:cNvPr>
            <p:cNvSpPr/>
            <p:nvPr/>
          </p:nvSpPr>
          <p:spPr>
            <a:xfrm>
              <a:off x="2352378" y="1461895"/>
              <a:ext cx="2917832" cy="751481"/>
            </a:xfrm>
            <a:prstGeom prst="rect">
              <a:avLst/>
            </a:prstGeom>
            <a:solidFill>
              <a:srgbClr val="15BF45"/>
            </a:solidFill>
            <a:ln>
              <a:noFill/>
            </a:ln>
          </p:spPr>
          <p:txBody>
            <a:bodyPr spcFirstLastPara="1" wrap="square" lIns="900000" tIns="0" rIns="0" bIns="0" anchor="ctr" anchorCtr="0">
              <a:noAutofit/>
            </a:bodyPr>
            <a:lstStyle/>
            <a:p>
              <a:pPr>
                <a:buClr>
                  <a:srgbClr val="004B54"/>
                </a:buClr>
                <a:buSzPct val="100000"/>
              </a:pPr>
              <a:endParaRPr lang="es-CL" sz="1400" kern="0" dirty="0">
                <a:solidFill>
                  <a:srgbClr val="15C047"/>
                </a:solidFill>
                <a:latin typeface="ACHS Nueva Sans Medium" pitchFamily="2" charset="77"/>
              </a:endParaRPr>
            </a:p>
          </p:txBody>
        </p:sp>
        <p:sp>
          <p:nvSpPr>
            <p:cNvPr id="145" name="Google Shape;1431;p39">
              <a:extLst>
                <a:ext uri="{FF2B5EF4-FFF2-40B4-BE49-F238E27FC236}">
                  <a16:creationId xmlns:a16="http://schemas.microsoft.com/office/drawing/2014/main" xmlns="" id="{3EB64642-04B5-6841-ADF8-D1E774A26E0A}"/>
                </a:ext>
              </a:extLst>
            </p:cNvPr>
            <p:cNvSpPr/>
            <p:nvPr/>
          </p:nvSpPr>
          <p:spPr>
            <a:xfrm>
              <a:off x="1952903" y="1458479"/>
              <a:ext cx="755195" cy="755195"/>
            </a:xfrm>
            <a:prstGeom prst="ellipse">
              <a:avLst/>
            </a:prstGeom>
            <a:solidFill>
              <a:srgbClr val="E9EADD"/>
            </a:solidFill>
            <a:ln>
              <a:noFill/>
            </a:ln>
          </p:spPr>
          <p:txBody>
            <a:bodyPr spcFirstLastPara="1" wrap="square" lIns="72000" tIns="72000" rIns="72000" bIns="72000" anchor="t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F3F3F"/>
                </a:buClr>
                <a:buSzPts val="1200"/>
                <a:buFont typeface="Arial"/>
                <a:buNone/>
                <a:tabLst/>
                <a:defRPr/>
              </a:pPr>
              <a:endParaRPr kumimoji="0" sz="1200" b="0" i="0" u="none" strike="noStrike" kern="0" cap="none" spc="0" normalizeH="0" baseline="0" noProof="0" dirty="0">
                <a:ln>
                  <a:noFill/>
                </a:ln>
                <a:solidFill>
                  <a:srgbClr val="616161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47" name="Group 146">
            <a:extLst>
              <a:ext uri="{FF2B5EF4-FFF2-40B4-BE49-F238E27FC236}">
                <a16:creationId xmlns:a16="http://schemas.microsoft.com/office/drawing/2014/main" xmlns="" id="{559269B2-B9FC-F54C-94F3-B2B789E42C12}"/>
              </a:ext>
            </a:extLst>
          </p:cNvPr>
          <p:cNvGrpSpPr/>
          <p:nvPr/>
        </p:nvGrpSpPr>
        <p:grpSpPr>
          <a:xfrm>
            <a:off x="6235335" y="4492336"/>
            <a:ext cx="3317307" cy="755195"/>
            <a:chOff x="1952903" y="1458479"/>
            <a:chExt cx="3317307" cy="755195"/>
          </a:xfrm>
        </p:grpSpPr>
        <p:sp>
          <p:nvSpPr>
            <p:cNvPr id="148" name="Google Shape;1428;p39">
              <a:extLst>
                <a:ext uri="{FF2B5EF4-FFF2-40B4-BE49-F238E27FC236}">
                  <a16:creationId xmlns:a16="http://schemas.microsoft.com/office/drawing/2014/main" xmlns="" id="{9B1B7BC4-66DD-734B-9D07-72AD161DC17C}"/>
                </a:ext>
              </a:extLst>
            </p:cNvPr>
            <p:cNvSpPr/>
            <p:nvPr/>
          </p:nvSpPr>
          <p:spPr>
            <a:xfrm>
              <a:off x="2352378" y="1461895"/>
              <a:ext cx="2917832" cy="751481"/>
            </a:xfrm>
            <a:prstGeom prst="rect">
              <a:avLst/>
            </a:prstGeom>
            <a:solidFill>
              <a:srgbClr val="15BF45"/>
            </a:solidFill>
            <a:ln>
              <a:noFill/>
            </a:ln>
          </p:spPr>
          <p:txBody>
            <a:bodyPr spcFirstLastPara="1" wrap="square" lIns="900000" tIns="0" rIns="0" bIns="0" anchor="ctr" anchorCtr="0">
              <a:noAutofit/>
            </a:bodyPr>
            <a:lstStyle/>
            <a:p>
              <a:pPr>
                <a:buClr>
                  <a:srgbClr val="004B54"/>
                </a:buClr>
                <a:buSzPct val="100000"/>
              </a:pPr>
              <a:endParaRPr lang="es-CL" sz="1400" kern="0" dirty="0">
                <a:solidFill>
                  <a:srgbClr val="15C047"/>
                </a:solidFill>
                <a:latin typeface="ACHS Nueva Sans Medium" pitchFamily="2" charset="77"/>
              </a:endParaRPr>
            </a:p>
          </p:txBody>
        </p:sp>
        <p:sp>
          <p:nvSpPr>
            <p:cNvPr id="149" name="Google Shape;1431;p39">
              <a:extLst>
                <a:ext uri="{FF2B5EF4-FFF2-40B4-BE49-F238E27FC236}">
                  <a16:creationId xmlns:a16="http://schemas.microsoft.com/office/drawing/2014/main" xmlns="" id="{32364E1F-EF81-2E4D-9DF7-CD4BB62E8E49}"/>
                </a:ext>
              </a:extLst>
            </p:cNvPr>
            <p:cNvSpPr/>
            <p:nvPr/>
          </p:nvSpPr>
          <p:spPr>
            <a:xfrm>
              <a:off x="1952903" y="1458479"/>
              <a:ext cx="755195" cy="755195"/>
            </a:xfrm>
            <a:prstGeom prst="ellipse">
              <a:avLst/>
            </a:prstGeom>
            <a:solidFill>
              <a:srgbClr val="E9EADD"/>
            </a:solidFill>
            <a:ln>
              <a:noFill/>
            </a:ln>
          </p:spPr>
          <p:txBody>
            <a:bodyPr spcFirstLastPara="1" wrap="square" lIns="72000" tIns="72000" rIns="72000" bIns="72000" anchor="t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F3F3F"/>
                </a:buClr>
                <a:buSzPts val="1200"/>
                <a:buFont typeface="Arial"/>
                <a:buNone/>
                <a:tabLst/>
                <a:defRPr/>
              </a:pPr>
              <a:endParaRPr kumimoji="0" sz="1200" b="0" i="0" u="none" strike="noStrike" kern="0" cap="none" spc="0" normalizeH="0" baseline="0" noProof="0" dirty="0">
                <a:ln>
                  <a:noFill/>
                </a:ln>
                <a:solidFill>
                  <a:srgbClr val="616161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39" name="Google Shape;3515;p107">
            <a:extLst>
              <a:ext uri="{FF2B5EF4-FFF2-40B4-BE49-F238E27FC236}">
                <a16:creationId xmlns:a16="http://schemas.microsoft.com/office/drawing/2014/main" xmlns="" id="{94E418A2-1B96-F846-8898-9F9759E24824}"/>
              </a:ext>
            </a:extLst>
          </p:cNvPr>
          <p:cNvGrpSpPr/>
          <p:nvPr/>
        </p:nvGrpSpPr>
        <p:grpSpPr>
          <a:xfrm>
            <a:off x="2456236" y="4677483"/>
            <a:ext cx="254970" cy="426615"/>
            <a:chOff x="6445" y="1959"/>
            <a:chExt cx="306" cy="512"/>
          </a:xfrm>
        </p:grpSpPr>
        <p:sp>
          <p:nvSpPr>
            <p:cNvPr id="40" name="Google Shape;3516;p107">
              <a:extLst>
                <a:ext uri="{FF2B5EF4-FFF2-40B4-BE49-F238E27FC236}">
                  <a16:creationId xmlns:a16="http://schemas.microsoft.com/office/drawing/2014/main" xmlns="" id="{097C02D6-85FD-6448-BD0A-24D17114BE7C}"/>
                </a:ext>
              </a:extLst>
            </p:cNvPr>
            <p:cNvSpPr/>
            <p:nvPr/>
          </p:nvSpPr>
          <p:spPr>
            <a:xfrm>
              <a:off x="6445" y="1959"/>
              <a:ext cx="306" cy="512"/>
            </a:xfrm>
            <a:custGeom>
              <a:avLst/>
              <a:gdLst/>
              <a:ahLst/>
              <a:cxnLst/>
              <a:rect l="l" t="t" r="r" b="b"/>
              <a:pathLst>
                <a:path w="496" h="839" extrusionOk="0">
                  <a:moveTo>
                    <a:pt x="47" y="133"/>
                  </a:moveTo>
                  <a:lnTo>
                    <a:pt x="47" y="133"/>
                  </a:lnTo>
                  <a:lnTo>
                    <a:pt x="448" y="133"/>
                  </a:lnTo>
                  <a:lnTo>
                    <a:pt x="447" y="136"/>
                  </a:lnTo>
                  <a:lnTo>
                    <a:pt x="393" y="607"/>
                  </a:lnTo>
                  <a:cubicBezTo>
                    <a:pt x="391" y="624"/>
                    <a:pt x="377" y="636"/>
                    <a:pt x="360" y="636"/>
                  </a:cubicBezTo>
                  <a:lnTo>
                    <a:pt x="135" y="636"/>
                  </a:lnTo>
                  <a:cubicBezTo>
                    <a:pt x="118" y="636"/>
                    <a:pt x="104" y="624"/>
                    <a:pt x="102" y="607"/>
                  </a:cubicBezTo>
                  <a:lnTo>
                    <a:pt x="47" y="133"/>
                  </a:lnTo>
                  <a:close/>
                  <a:moveTo>
                    <a:pt x="36" y="33"/>
                  </a:moveTo>
                  <a:lnTo>
                    <a:pt x="36" y="33"/>
                  </a:lnTo>
                  <a:lnTo>
                    <a:pt x="459" y="33"/>
                  </a:lnTo>
                  <a:lnTo>
                    <a:pt x="452" y="99"/>
                  </a:lnTo>
                  <a:lnTo>
                    <a:pt x="43" y="99"/>
                  </a:lnTo>
                  <a:lnTo>
                    <a:pt x="36" y="33"/>
                  </a:lnTo>
                  <a:close/>
                  <a:moveTo>
                    <a:pt x="336" y="805"/>
                  </a:moveTo>
                  <a:lnTo>
                    <a:pt x="336" y="805"/>
                  </a:lnTo>
                  <a:lnTo>
                    <a:pt x="315" y="805"/>
                  </a:lnTo>
                  <a:lnTo>
                    <a:pt x="315" y="794"/>
                  </a:lnTo>
                  <a:cubicBezTo>
                    <a:pt x="315" y="757"/>
                    <a:pt x="285" y="727"/>
                    <a:pt x="247" y="727"/>
                  </a:cubicBezTo>
                  <a:cubicBezTo>
                    <a:pt x="210" y="727"/>
                    <a:pt x="180" y="757"/>
                    <a:pt x="180" y="794"/>
                  </a:cubicBezTo>
                  <a:lnTo>
                    <a:pt x="180" y="805"/>
                  </a:lnTo>
                  <a:lnTo>
                    <a:pt x="159" y="805"/>
                  </a:lnTo>
                  <a:cubicBezTo>
                    <a:pt x="141" y="805"/>
                    <a:pt x="126" y="790"/>
                    <a:pt x="126" y="772"/>
                  </a:cubicBezTo>
                  <a:lnTo>
                    <a:pt x="126" y="670"/>
                  </a:lnTo>
                  <a:lnTo>
                    <a:pt x="367" y="671"/>
                  </a:lnTo>
                  <a:lnTo>
                    <a:pt x="369" y="678"/>
                  </a:lnTo>
                  <a:lnTo>
                    <a:pt x="369" y="772"/>
                  </a:lnTo>
                  <a:cubicBezTo>
                    <a:pt x="369" y="790"/>
                    <a:pt x="354" y="805"/>
                    <a:pt x="336" y="805"/>
                  </a:cubicBezTo>
                  <a:close/>
                  <a:moveTo>
                    <a:pt x="281" y="805"/>
                  </a:moveTo>
                  <a:lnTo>
                    <a:pt x="281" y="805"/>
                  </a:lnTo>
                  <a:lnTo>
                    <a:pt x="214" y="805"/>
                  </a:lnTo>
                  <a:lnTo>
                    <a:pt x="214" y="794"/>
                  </a:lnTo>
                  <a:cubicBezTo>
                    <a:pt x="214" y="776"/>
                    <a:pt x="229" y="761"/>
                    <a:pt x="247" y="761"/>
                  </a:cubicBezTo>
                  <a:cubicBezTo>
                    <a:pt x="266" y="761"/>
                    <a:pt x="281" y="776"/>
                    <a:pt x="281" y="794"/>
                  </a:cubicBezTo>
                  <a:lnTo>
                    <a:pt x="281" y="805"/>
                  </a:lnTo>
                  <a:close/>
                  <a:moveTo>
                    <a:pt x="92" y="772"/>
                  </a:moveTo>
                  <a:lnTo>
                    <a:pt x="92" y="772"/>
                  </a:lnTo>
                  <a:cubicBezTo>
                    <a:pt x="92" y="809"/>
                    <a:pt x="122" y="839"/>
                    <a:pt x="159" y="839"/>
                  </a:cubicBezTo>
                  <a:lnTo>
                    <a:pt x="336" y="839"/>
                  </a:lnTo>
                  <a:cubicBezTo>
                    <a:pt x="373" y="839"/>
                    <a:pt x="403" y="809"/>
                    <a:pt x="403" y="772"/>
                  </a:cubicBezTo>
                  <a:lnTo>
                    <a:pt x="403" y="655"/>
                  </a:lnTo>
                  <a:lnTo>
                    <a:pt x="406" y="653"/>
                  </a:lnTo>
                  <a:cubicBezTo>
                    <a:pt x="418" y="641"/>
                    <a:pt x="425" y="627"/>
                    <a:pt x="427" y="611"/>
                  </a:cubicBezTo>
                  <a:lnTo>
                    <a:pt x="495" y="18"/>
                  </a:lnTo>
                  <a:cubicBezTo>
                    <a:pt x="496" y="13"/>
                    <a:pt x="494" y="8"/>
                    <a:pt x="491" y="5"/>
                  </a:cubicBezTo>
                  <a:lnTo>
                    <a:pt x="491" y="5"/>
                  </a:lnTo>
                  <a:cubicBezTo>
                    <a:pt x="488" y="2"/>
                    <a:pt x="483" y="0"/>
                    <a:pt x="478" y="0"/>
                  </a:cubicBezTo>
                  <a:lnTo>
                    <a:pt x="17" y="0"/>
                  </a:lnTo>
                  <a:cubicBezTo>
                    <a:pt x="12" y="0"/>
                    <a:pt x="7" y="2"/>
                    <a:pt x="4" y="5"/>
                  </a:cubicBezTo>
                  <a:cubicBezTo>
                    <a:pt x="1" y="8"/>
                    <a:pt x="0" y="13"/>
                    <a:pt x="0" y="18"/>
                  </a:cubicBezTo>
                  <a:lnTo>
                    <a:pt x="68" y="611"/>
                  </a:lnTo>
                  <a:cubicBezTo>
                    <a:pt x="70" y="627"/>
                    <a:pt x="78" y="642"/>
                    <a:pt x="90" y="653"/>
                  </a:cubicBezTo>
                  <a:lnTo>
                    <a:pt x="93" y="656"/>
                  </a:lnTo>
                  <a:lnTo>
                    <a:pt x="92" y="661"/>
                  </a:lnTo>
                  <a:cubicBezTo>
                    <a:pt x="92" y="664"/>
                    <a:pt x="92" y="729"/>
                    <a:pt x="92" y="772"/>
                  </a:cubicBezTo>
                  <a:close/>
                </a:path>
              </a:pathLst>
            </a:custGeom>
            <a:solidFill>
              <a:srgbClr val="15BF45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1" name="Google Shape;3517;p107">
              <a:extLst>
                <a:ext uri="{FF2B5EF4-FFF2-40B4-BE49-F238E27FC236}">
                  <a16:creationId xmlns:a16="http://schemas.microsoft.com/office/drawing/2014/main" xmlns="" id="{64CA24CF-5FB3-4345-B743-CBDACF86C9AA}"/>
                </a:ext>
              </a:extLst>
            </p:cNvPr>
            <p:cNvSpPr/>
            <p:nvPr/>
          </p:nvSpPr>
          <p:spPr>
            <a:xfrm>
              <a:off x="6520" y="2088"/>
              <a:ext cx="72" cy="110"/>
            </a:xfrm>
            <a:custGeom>
              <a:avLst/>
              <a:gdLst/>
              <a:ahLst/>
              <a:cxnLst/>
              <a:rect l="l" t="t" r="r" b="b"/>
              <a:pathLst>
                <a:path w="116" h="180" extrusionOk="0">
                  <a:moveTo>
                    <a:pt x="2" y="151"/>
                  </a:moveTo>
                  <a:lnTo>
                    <a:pt x="2" y="151"/>
                  </a:lnTo>
                  <a:lnTo>
                    <a:pt x="18" y="134"/>
                  </a:lnTo>
                  <a:cubicBezTo>
                    <a:pt x="20" y="133"/>
                    <a:pt x="22" y="132"/>
                    <a:pt x="24" y="134"/>
                  </a:cubicBezTo>
                  <a:cubicBezTo>
                    <a:pt x="24" y="134"/>
                    <a:pt x="40" y="146"/>
                    <a:pt x="53" y="146"/>
                  </a:cubicBezTo>
                  <a:cubicBezTo>
                    <a:pt x="64" y="146"/>
                    <a:pt x="75" y="136"/>
                    <a:pt x="75" y="125"/>
                  </a:cubicBezTo>
                  <a:cubicBezTo>
                    <a:pt x="75" y="114"/>
                    <a:pt x="63" y="104"/>
                    <a:pt x="44" y="104"/>
                  </a:cubicBezTo>
                  <a:lnTo>
                    <a:pt x="30" y="104"/>
                  </a:lnTo>
                  <a:cubicBezTo>
                    <a:pt x="27" y="104"/>
                    <a:pt x="25" y="102"/>
                    <a:pt x="25" y="99"/>
                  </a:cubicBezTo>
                  <a:lnTo>
                    <a:pt x="25" y="78"/>
                  </a:lnTo>
                  <a:cubicBezTo>
                    <a:pt x="25" y="75"/>
                    <a:pt x="27" y="73"/>
                    <a:pt x="30" y="73"/>
                  </a:cubicBezTo>
                  <a:lnTo>
                    <a:pt x="44" y="73"/>
                  </a:lnTo>
                  <a:cubicBezTo>
                    <a:pt x="62" y="73"/>
                    <a:pt x="72" y="64"/>
                    <a:pt x="72" y="53"/>
                  </a:cubicBezTo>
                  <a:cubicBezTo>
                    <a:pt x="72" y="42"/>
                    <a:pt x="62" y="34"/>
                    <a:pt x="51" y="34"/>
                  </a:cubicBezTo>
                  <a:cubicBezTo>
                    <a:pt x="40" y="34"/>
                    <a:pt x="33" y="40"/>
                    <a:pt x="29" y="44"/>
                  </a:cubicBezTo>
                  <a:cubicBezTo>
                    <a:pt x="27" y="46"/>
                    <a:pt x="24" y="46"/>
                    <a:pt x="22" y="45"/>
                  </a:cubicBezTo>
                  <a:lnTo>
                    <a:pt x="6" y="29"/>
                  </a:lnTo>
                  <a:cubicBezTo>
                    <a:pt x="4" y="27"/>
                    <a:pt x="4" y="24"/>
                    <a:pt x="6" y="23"/>
                  </a:cubicBezTo>
                  <a:cubicBezTo>
                    <a:pt x="6" y="23"/>
                    <a:pt x="27" y="0"/>
                    <a:pt x="55" y="0"/>
                  </a:cubicBezTo>
                  <a:cubicBezTo>
                    <a:pt x="85" y="0"/>
                    <a:pt x="111" y="18"/>
                    <a:pt x="111" y="47"/>
                  </a:cubicBezTo>
                  <a:cubicBezTo>
                    <a:pt x="111" y="67"/>
                    <a:pt x="96" y="81"/>
                    <a:pt x="84" y="87"/>
                  </a:cubicBezTo>
                  <a:lnTo>
                    <a:pt x="84" y="88"/>
                  </a:lnTo>
                  <a:cubicBezTo>
                    <a:pt x="96" y="93"/>
                    <a:pt x="116" y="109"/>
                    <a:pt x="116" y="131"/>
                  </a:cubicBezTo>
                  <a:cubicBezTo>
                    <a:pt x="116" y="159"/>
                    <a:pt x="91" y="180"/>
                    <a:pt x="56" y="180"/>
                  </a:cubicBezTo>
                  <a:cubicBezTo>
                    <a:pt x="23" y="180"/>
                    <a:pt x="7" y="164"/>
                    <a:pt x="1" y="157"/>
                  </a:cubicBezTo>
                  <a:cubicBezTo>
                    <a:pt x="0" y="155"/>
                    <a:pt x="0" y="152"/>
                    <a:pt x="2" y="151"/>
                  </a:cubicBezTo>
                  <a:close/>
                </a:path>
              </a:pathLst>
            </a:custGeom>
            <a:solidFill>
              <a:srgbClr val="15BF45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2" name="Google Shape;3518;p107">
              <a:extLst>
                <a:ext uri="{FF2B5EF4-FFF2-40B4-BE49-F238E27FC236}">
                  <a16:creationId xmlns:a16="http://schemas.microsoft.com/office/drawing/2014/main" xmlns="" id="{5832BA40-E710-C949-8A42-0039A68CCB91}"/>
                </a:ext>
              </a:extLst>
            </p:cNvPr>
            <p:cNvSpPr/>
            <p:nvPr/>
          </p:nvSpPr>
          <p:spPr>
            <a:xfrm>
              <a:off x="6598" y="2088"/>
              <a:ext cx="81" cy="110"/>
            </a:xfrm>
            <a:custGeom>
              <a:avLst/>
              <a:gdLst/>
              <a:ahLst/>
              <a:cxnLst/>
              <a:rect l="l" t="t" r="r" b="b"/>
              <a:pathLst>
                <a:path w="131" h="180" extrusionOk="0">
                  <a:moveTo>
                    <a:pt x="90" y="90"/>
                  </a:moveTo>
                  <a:lnTo>
                    <a:pt x="90" y="90"/>
                  </a:lnTo>
                  <a:cubicBezTo>
                    <a:pt x="90" y="56"/>
                    <a:pt x="81" y="37"/>
                    <a:pt x="65" y="37"/>
                  </a:cubicBezTo>
                  <a:cubicBezTo>
                    <a:pt x="50" y="37"/>
                    <a:pt x="41" y="56"/>
                    <a:pt x="41" y="90"/>
                  </a:cubicBezTo>
                  <a:cubicBezTo>
                    <a:pt x="41" y="124"/>
                    <a:pt x="50" y="143"/>
                    <a:pt x="65" y="143"/>
                  </a:cubicBezTo>
                  <a:cubicBezTo>
                    <a:pt x="81" y="143"/>
                    <a:pt x="90" y="124"/>
                    <a:pt x="90" y="90"/>
                  </a:cubicBezTo>
                  <a:close/>
                  <a:moveTo>
                    <a:pt x="0" y="90"/>
                  </a:moveTo>
                  <a:lnTo>
                    <a:pt x="0" y="90"/>
                  </a:lnTo>
                  <a:cubicBezTo>
                    <a:pt x="0" y="34"/>
                    <a:pt x="23" y="0"/>
                    <a:pt x="65" y="0"/>
                  </a:cubicBezTo>
                  <a:cubicBezTo>
                    <a:pt x="107" y="0"/>
                    <a:pt x="131" y="34"/>
                    <a:pt x="131" y="90"/>
                  </a:cubicBezTo>
                  <a:cubicBezTo>
                    <a:pt x="131" y="146"/>
                    <a:pt x="107" y="180"/>
                    <a:pt x="65" y="180"/>
                  </a:cubicBezTo>
                  <a:cubicBezTo>
                    <a:pt x="23" y="180"/>
                    <a:pt x="0" y="146"/>
                    <a:pt x="0" y="90"/>
                  </a:cubicBezTo>
                  <a:close/>
                </a:path>
              </a:pathLst>
            </a:custGeom>
            <a:solidFill>
              <a:srgbClr val="15BF45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7" name="Google Shape;3519;p107">
              <a:extLst>
                <a:ext uri="{FF2B5EF4-FFF2-40B4-BE49-F238E27FC236}">
                  <a16:creationId xmlns:a16="http://schemas.microsoft.com/office/drawing/2014/main" xmlns="" id="{6F3CEE9E-F478-754F-B2FD-A4142E2EB8FD}"/>
                </a:ext>
              </a:extLst>
            </p:cNvPr>
            <p:cNvSpPr/>
            <p:nvPr/>
          </p:nvSpPr>
          <p:spPr>
            <a:xfrm>
              <a:off x="6528" y="2217"/>
              <a:ext cx="41" cy="63"/>
            </a:xfrm>
            <a:custGeom>
              <a:avLst/>
              <a:gdLst/>
              <a:ahLst/>
              <a:cxnLst/>
              <a:rect l="l" t="t" r="r" b="b"/>
              <a:pathLst>
                <a:path w="66" h="103" extrusionOk="0">
                  <a:moveTo>
                    <a:pt x="0" y="3"/>
                  </a:moveTo>
                  <a:lnTo>
                    <a:pt x="0" y="3"/>
                  </a:lnTo>
                  <a:cubicBezTo>
                    <a:pt x="0" y="1"/>
                    <a:pt x="1" y="0"/>
                    <a:pt x="3" y="0"/>
                  </a:cubicBezTo>
                  <a:lnTo>
                    <a:pt x="63" y="0"/>
                  </a:lnTo>
                  <a:cubicBezTo>
                    <a:pt x="65" y="0"/>
                    <a:pt x="66" y="1"/>
                    <a:pt x="66" y="3"/>
                  </a:cubicBezTo>
                  <a:lnTo>
                    <a:pt x="66" y="19"/>
                  </a:lnTo>
                  <a:cubicBezTo>
                    <a:pt x="66" y="20"/>
                    <a:pt x="65" y="21"/>
                    <a:pt x="63" y="21"/>
                  </a:cubicBezTo>
                  <a:lnTo>
                    <a:pt x="23" y="21"/>
                  </a:lnTo>
                  <a:lnTo>
                    <a:pt x="23" y="43"/>
                  </a:lnTo>
                  <a:lnTo>
                    <a:pt x="56" y="43"/>
                  </a:lnTo>
                  <a:cubicBezTo>
                    <a:pt x="58" y="43"/>
                    <a:pt x="59" y="44"/>
                    <a:pt x="59" y="45"/>
                  </a:cubicBezTo>
                  <a:lnTo>
                    <a:pt x="59" y="61"/>
                  </a:lnTo>
                  <a:cubicBezTo>
                    <a:pt x="59" y="63"/>
                    <a:pt x="58" y="64"/>
                    <a:pt x="56" y="64"/>
                  </a:cubicBezTo>
                  <a:lnTo>
                    <a:pt x="23" y="64"/>
                  </a:lnTo>
                  <a:lnTo>
                    <a:pt x="23" y="100"/>
                  </a:lnTo>
                  <a:cubicBezTo>
                    <a:pt x="23" y="101"/>
                    <a:pt x="21" y="103"/>
                    <a:pt x="20" y="103"/>
                  </a:cubicBezTo>
                  <a:lnTo>
                    <a:pt x="3" y="103"/>
                  </a:lnTo>
                  <a:cubicBezTo>
                    <a:pt x="1" y="103"/>
                    <a:pt x="0" y="101"/>
                    <a:pt x="0" y="10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15BF45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4" name="Google Shape;3520;p107">
              <a:extLst>
                <a:ext uri="{FF2B5EF4-FFF2-40B4-BE49-F238E27FC236}">
                  <a16:creationId xmlns:a16="http://schemas.microsoft.com/office/drawing/2014/main" xmlns="" id="{D8F87D78-E968-F443-9D4E-EB659C560FC7}"/>
                </a:ext>
              </a:extLst>
            </p:cNvPr>
            <p:cNvSpPr/>
            <p:nvPr/>
          </p:nvSpPr>
          <p:spPr>
            <a:xfrm>
              <a:off x="6580" y="2217"/>
              <a:ext cx="44" cy="63"/>
            </a:xfrm>
            <a:custGeom>
              <a:avLst/>
              <a:gdLst/>
              <a:ahLst/>
              <a:cxnLst/>
              <a:rect l="l" t="t" r="r" b="b"/>
              <a:pathLst>
                <a:path w="71" h="103" extrusionOk="0">
                  <a:moveTo>
                    <a:pt x="36" y="44"/>
                  </a:moveTo>
                  <a:lnTo>
                    <a:pt x="36" y="44"/>
                  </a:lnTo>
                  <a:cubicBezTo>
                    <a:pt x="43" y="44"/>
                    <a:pt x="48" y="39"/>
                    <a:pt x="48" y="32"/>
                  </a:cubicBezTo>
                  <a:cubicBezTo>
                    <a:pt x="48" y="26"/>
                    <a:pt x="43" y="21"/>
                    <a:pt x="36" y="21"/>
                  </a:cubicBezTo>
                  <a:lnTo>
                    <a:pt x="22" y="21"/>
                  </a:lnTo>
                  <a:lnTo>
                    <a:pt x="22" y="44"/>
                  </a:lnTo>
                  <a:lnTo>
                    <a:pt x="36" y="44"/>
                  </a:lnTo>
                  <a:close/>
                  <a:moveTo>
                    <a:pt x="0" y="3"/>
                  </a:moveTo>
                  <a:lnTo>
                    <a:pt x="0" y="3"/>
                  </a:lnTo>
                  <a:cubicBezTo>
                    <a:pt x="0" y="1"/>
                    <a:pt x="1" y="0"/>
                    <a:pt x="2" y="0"/>
                  </a:cubicBezTo>
                  <a:lnTo>
                    <a:pt x="38" y="0"/>
                  </a:lnTo>
                  <a:cubicBezTo>
                    <a:pt x="56" y="0"/>
                    <a:pt x="71" y="15"/>
                    <a:pt x="71" y="32"/>
                  </a:cubicBezTo>
                  <a:cubicBezTo>
                    <a:pt x="71" y="51"/>
                    <a:pt x="56" y="65"/>
                    <a:pt x="38" y="65"/>
                  </a:cubicBezTo>
                  <a:lnTo>
                    <a:pt x="22" y="65"/>
                  </a:lnTo>
                  <a:lnTo>
                    <a:pt x="22" y="100"/>
                  </a:lnTo>
                  <a:cubicBezTo>
                    <a:pt x="22" y="101"/>
                    <a:pt x="21" y="103"/>
                    <a:pt x="20" y="103"/>
                  </a:cubicBezTo>
                  <a:lnTo>
                    <a:pt x="2" y="103"/>
                  </a:lnTo>
                  <a:cubicBezTo>
                    <a:pt x="1" y="103"/>
                    <a:pt x="0" y="101"/>
                    <a:pt x="0" y="10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15BF45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5" name="Google Shape;3521;p107">
              <a:extLst>
                <a:ext uri="{FF2B5EF4-FFF2-40B4-BE49-F238E27FC236}">
                  <a16:creationId xmlns:a16="http://schemas.microsoft.com/office/drawing/2014/main" xmlns="" id="{BE23C4EE-68C4-1C45-99FA-F06E3782A6B1}"/>
                </a:ext>
              </a:extLst>
            </p:cNvPr>
            <p:cNvSpPr/>
            <p:nvPr/>
          </p:nvSpPr>
          <p:spPr>
            <a:xfrm>
              <a:off x="6629" y="2215"/>
              <a:ext cx="43" cy="65"/>
            </a:xfrm>
            <a:custGeom>
              <a:avLst/>
              <a:gdLst/>
              <a:ahLst/>
              <a:cxnLst/>
              <a:rect l="l" t="t" r="r" b="b"/>
              <a:pathLst>
                <a:path w="70" h="106" extrusionOk="0">
                  <a:moveTo>
                    <a:pt x="1" y="91"/>
                  </a:moveTo>
                  <a:lnTo>
                    <a:pt x="1" y="91"/>
                  </a:lnTo>
                  <a:lnTo>
                    <a:pt x="8" y="79"/>
                  </a:lnTo>
                  <a:cubicBezTo>
                    <a:pt x="9" y="77"/>
                    <a:pt x="12" y="77"/>
                    <a:pt x="13" y="78"/>
                  </a:cubicBezTo>
                  <a:cubicBezTo>
                    <a:pt x="14" y="78"/>
                    <a:pt x="24" y="86"/>
                    <a:pt x="34" y="86"/>
                  </a:cubicBezTo>
                  <a:cubicBezTo>
                    <a:pt x="40" y="86"/>
                    <a:pt x="44" y="82"/>
                    <a:pt x="44" y="77"/>
                  </a:cubicBezTo>
                  <a:cubicBezTo>
                    <a:pt x="44" y="71"/>
                    <a:pt x="39" y="66"/>
                    <a:pt x="29" y="62"/>
                  </a:cubicBezTo>
                  <a:cubicBezTo>
                    <a:pt x="16" y="57"/>
                    <a:pt x="0" y="47"/>
                    <a:pt x="0" y="30"/>
                  </a:cubicBezTo>
                  <a:cubicBezTo>
                    <a:pt x="0" y="15"/>
                    <a:pt x="12" y="0"/>
                    <a:pt x="34" y="0"/>
                  </a:cubicBezTo>
                  <a:cubicBezTo>
                    <a:pt x="50" y="0"/>
                    <a:pt x="61" y="8"/>
                    <a:pt x="66" y="11"/>
                  </a:cubicBezTo>
                  <a:cubicBezTo>
                    <a:pt x="68" y="12"/>
                    <a:pt x="67" y="15"/>
                    <a:pt x="67" y="16"/>
                  </a:cubicBezTo>
                  <a:lnTo>
                    <a:pt x="59" y="27"/>
                  </a:lnTo>
                  <a:cubicBezTo>
                    <a:pt x="58" y="29"/>
                    <a:pt x="56" y="30"/>
                    <a:pt x="54" y="29"/>
                  </a:cubicBezTo>
                  <a:cubicBezTo>
                    <a:pt x="53" y="29"/>
                    <a:pt x="42" y="21"/>
                    <a:pt x="33" y="21"/>
                  </a:cubicBezTo>
                  <a:cubicBezTo>
                    <a:pt x="28" y="21"/>
                    <a:pt x="24" y="24"/>
                    <a:pt x="24" y="28"/>
                  </a:cubicBezTo>
                  <a:cubicBezTo>
                    <a:pt x="24" y="33"/>
                    <a:pt x="28" y="38"/>
                    <a:pt x="40" y="42"/>
                  </a:cubicBezTo>
                  <a:cubicBezTo>
                    <a:pt x="51" y="47"/>
                    <a:pt x="70" y="56"/>
                    <a:pt x="70" y="76"/>
                  </a:cubicBezTo>
                  <a:cubicBezTo>
                    <a:pt x="70" y="91"/>
                    <a:pt x="57" y="106"/>
                    <a:pt x="35" y="106"/>
                  </a:cubicBezTo>
                  <a:cubicBezTo>
                    <a:pt x="16" y="106"/>
                    <a:pt x="5" y="98"/>
                    <a:pt x="2" y="95"/>
                  </a:cubicBezTo>
                  <a:cubicBezTo>
                    <a:pt x="0" y="93"/>
                    <a:pt x="0" y="93"/>
                    <a:pt x="1" y="91"/>
                  </a:cubicBezTo>
                  <a:close/>
                </a:path>
              </a:pathLst>
            </a:custGeom>
            <a:solidFill>
              <a:srgbClr val="15BF45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70" name="Google Shape;3607;p109">
            <a:extLst>
              <a:ext uri="{FF2B5EF4-FFF2-40B4-BE49-F238E27FC236}">
                <a16:creationId xmlns:a16="http://schemas.microsoft.com/office/drawing/2014/main" xmlns="" id="{11BC308E-920D-8142-A1BF-13DE44FAEF07}"/>
              </a:ext>
            </a:extLst>
          </p:cNvPr>
          <p:cNvSpPr/>
          <p:nvPr/>
        </p:nvSpPr>
        <p:spPr>
          <a:xfrm>
            <a:off x="6463409" y="2719496"/>
            <a:ext cx="365208" cy="419601"/>
          </a:xfrm>
          <a:custGeom>
            <a:avLst/>
            <a:gdLst/>
            <a:ahLst/>
            <a:cxnLst/>
            <a:rect l="l" t="t" r="r" b="b"/>
            <a:pathLst>
              <a:path w="607" h="704" extrusionOk="0">
                <a:moveTo>
                  <a:pt x="224" y="636"/>
                </a:moveTo>
                <a:lnTo>
                  <a:pt x="224" y="636"/>
                </a:lnTo>
                <a:lnTo>
                  <a:pt x="212" y="668"/>
                </a:lnTo>
                <a:lnTo>
                  <a:pt x="61" y="668"/>
                </a:lnTo>
                <a:cubicBezTo>
                  <a:pt x="62" y="658"/>
                  <a:pt x="63" y="647"/>
                  <a:pt x="64" y="636"/>
                </a:cubicBezTo>
                <a:lnTo>
                  <a:pt x="224" y="636"/>
                </a:lnTo>
                <a:close/>
                <a:moveTo>
                  <a:pt x="295" y="34"/>
                </a:moveTo>
                <a:lnTo>
                  <a:pt x="295" y="34"/>
                </a:lnTo>
                <a:cubicBezTo>
                  <a:pt x="293" y="41"/>
                  <a:pt x="292" y="49"/>
                  <a:pt x="290" y="56"/>
                </a:cubicBezTo>
                <a:lnTo>
                  <a:pt x="35" y="56"/>
                </a:lnTo>
                <a:cubicBezTo>
                  <a:pt x="35" y="49"/>
                  <a:pt x="35" y="41"/>
                  <a:pt x="35" y="34"/>
                </a:cubicBezTo>
                <a:lnTo>
                  <a:pt x="295" y="34"/>
                </a:lnTo>
                <a:close/>
                <a:moveTo>
                  <a:pt x="278" y="139"/>
                </a:moveTo>
                <a:lnTo>
                  <a:pt x="278" y="139"/>
                </a:lnTo>
                <a:cubicBezTo>
                  <a:pt x="277" y="151"/>
                  <a:pt x="276" y="162"/>
                  <a:pt x="275" y="174"/>
                </a:cubicBezTo>
                <a:lnTo>
                  <a:pt x="40" y="174"/>
                </a:lnTo>
                <a:cubicBezTo>
                  <a:pt x="39" y="162"/>
                  <a:pt x="38" y="150"/>
                  <a:pt x="38" y="139"/>
                </a:cubicBezTo>
                <a:lnTo>
                  <a:pt x="278" y="139"/>
                </a:lnTo>
                <a:close/>
                <a:moveTo>
                  <a:pt x="274" y="209"/>
                </a:moveTo>
                <a:lnTo>
                  <a:pt x="274" y="209"/>
                </a:lnTo>
                <a:cubicBezTo>
                  <a:pt x="273" y="213"/>
                  <a:pt x="273" y="217"/>
                  <a:pt x="273" y="222"/>
                </a:cubicBezTo>
                <a:lnTo>
                  <a:pt x="43" y="222"/>
                </a:lnTo>
                <a:lnTo>
                  <a:pt x="42" y="209"/>
                </a:lnTo>
                <a:lnTo>
                  <a:pt x="274" y="209"/>
                </a:lnTo>
                <a:close/>
                <a:moveTo>
                  <a:pt x="262" y="601"/>
                </a:moveTo>
                <a:lnTo>
                  <a:pt x="262" y="601"/>
                </a:lnTo>
                <a:cubicBezTo>
                  <a:pt x="265" y="579"/>
                  <a:pt x="270" y="559"/>
                  <a:pt x="277" y="539"/>
                </a:cubicBezTo>
                <a:lnTo>
                  <a:pt x="279" y="536"/>
                </a:lnTo>
                <a:cubicBezTo>
                  <a:pt x="281" y="528"/>
                  <a:pt x="290" y="510"/>
                  <a:pt x="300" y="495"/>
                </a:cubicBezTo>
                <a:lnTo>
                  <a:pt x="301" y="494"/>
                </a:lnTo>
                <a:cubicBezTo>
                  <a:pt x="308" y="483"/>
                  <a:pt x="317" y="472"/>
                  <a:pt x="326" y="462"/>
                </a:cubicBezTo>
                <a:cubicBezTo>
                  <a:pt x="354" y="508"/>
                  <a:pt x="405" y="531"/>
                  <a:pt x="477" y="532"/>
                </a:cubicBezTo>
                <a:cubicBezTo>
                  <a:pt x="501" y="532"/>
                  <a:pt x="523" y="541"/>
                  <a:pt x="541" y="557"/>
                </a:cubicBezTo>
                <a:cubicBezTo>
                  <a:pt x="553" y="569"/>
                  <a:pt x="563" y="584"/>
                  <a:pt x="567" y="601"/>
                </a:cubicBezTo>
                <a:lnTo>
                  <a:pt x="262" y="601"/>
                </a:lnTo>
                <a:close/>
                <a:moveTo>
                  <a:pt x="55" y="375"/>
                </a:moveTo>
                <a:lnTo>
                  <a:pt x="55" y="375"/>
                </a:lnTo>
                <a:lnTo>
                  <a:pt x="50" y="314"/>
                </a:lnTo>
                <a:cubicBezTo>
                  <a:pt x="49" y="295"/>
                  <a:pt x="47" y="276"/>
                  <a:pt x="46" y="257"/>
                </a:cubicBezTo>
                <a:lnTo>
                  <a:pt x="274" y="257"/>
                </a:lnTo>
                <a:cubicBezTo>
                  <a:pt x="276" y="323"/>
                  <a:pt x="288" y="382"/>
                  <a:pt x="309" y="430"/>
                </a:cubicBezTo>
                <a:cubicBezTo>
                  <a:pt x="295" y="443"/>
                  <a:pt x="282" y="458"/>
                  <a:pt x="271" y="475"/>
                </a:cubicBezTo>
                <a:cubicBezTo>
                  <a:pt x="271" y="475"/>
                  <a:pt x="271" y="476"/>
                  <a:pt x="271" y="476"/>
                </a:cubicBezTo>
                <a:cubicBezTo>
                  <a:pt x="265" y="485"/>
                  <a:pt x="254" y="504"/>
                  <a:pt x="247" y="520"/>
                </a:cubicBezTo>
                <a:lnTo>
                  <a:pt x="245" y="525"/>
                </a:lnTo>
                <a:cubicBezTo>
                  <a:pt x="244" y="528"/>
                  <a:pt x="242" y="532"/>
                  <a:pt x="241" y="535"/>
                </a:cubicBezTo>
                <a:lnTo>
                  <a:pt x="240" y="539"/>
                </a:lnTo>
                <a:cubicBezTo>
                  <a:pt x="233" y="559"/>
                  <a:pt x="229" y="580"/>
                  <a:pt x="227" y="601"/>
                </a:cubicBezTo>
                <a:lnTo>
                  <a:pt x="65" y="601"/>
                </a:lnTo>
                <a:cubicBezTo>
                  <a:pt x="66" y="530"/>
                  <a:pt x="61" y="451"/>
                  <a:pt x="55" y="375"/>
                </a:cubicBezTo>
                <a:close/>
                <a:moveTo>
                  <a:pt x="284" y="91"/>
                </a:moveTo>
                <a:lnTo>
                  <a:pt x="284" y="91"/>
                </a:lnTo>
                <a:cubicBezTo>
                  <a:pt x="284" y="96"/>
                  <a:pt x="283" y="100"/>
                  <a:pt x="282" y="104"/>
                </a:cubicBezTo>
                <a:lnTo>
                  <a:pt x="36" y="104"/>
                </a:lnTo>
                <a:cubicBezTo>
                  <a:pt x="36" y="100"/>
                  <a:pt x="36" y="96"/>
                  <a:pt x="36" y="91"/>
                </a:cubicBezTo>
                <a:lnTo>
                  <a:pt x="284" y="91"/>
                </a:lnTo>
                <a:close/>
                <a:moveTo>
                  <a:pt x="572" y="668"/>
                </a:moveTo>
                <a:lnTo>
                  <a:pt x="572" y="668"/>
                </a:lnTo>
                <a:lnTo>
                  <a:pt x="338" y="668"/>
                </a:lnTo>
                <a:lnTo>
                  <a:pt x="274" y="636"/>
                </a:lnTo>
                <a:lnTo>
                  <a:pt x="571" y="636"/>
                </a:lnTo>
                <a:cubicBezTo>
                  <a:pt x="572" y="646"/>
                  <a:pt x="572" y="658"/>
                  <a:pt x="572" y="668"/>
                </a:cubicBezTo>
                <a:close/>
                <a:moveTo>
                  <a:pt x="605" y="617"/>
                </a:moveTo>
                <a:lnTo>
                  <a:pt x="605" y="617"/>
                </a:lnTo>
                <a:lnTo>
                  <a:pt x="600" y="617"/>
                </a:lnTo>
                <a:lnTo>
                  <a:pt x="605" y="616"/>
                </a:lnTo>
                <a:cubicBezTo>
                  <a:pt x="603" y="583"/>
                  <a:pt x="588" y="553"/>
                  <a:pt x="564" y="531"/>
                </a:cubicBezTo>
                <a:cubicBezTo>
                  <a:pt x="541" y="509"/>
                  <a:pt x="510" y="497"/>
                  <a:pt x="477" y="497"/>
                </a:cubicBezTo>
                <a:cubicBezTo>
                  <a:pt x="416" y="496"/>
                  <a:pt x="375" y="478"/>
                  <a:pt x="354" y="442"/>
                </a:cubicBezTo>
                <a:cubicBezTo>
                  <a:pt x="352" y="437"/>
                  <a:pt x="349" y="432"/>
                  <a:pt x="346" y="426"/>
                </a:cubicBezTo>
                <a:cubicBezTo>
                  <a:pt x="322" y="377"/>
                  <a:pt x="309" y="314"/>
                  <a:pt x="308" y="239"/>
                </a:cubicBezTo>
                <a:cubicBezTo>
                  <a:pt x="308" y="224"/>
                  <a:pt x="308" y="208"/>
                  <a:pt x="309" y="192"/>
                </a:cubicBezTo>
                <a:cubicBezTo>
                  <a:pt x="310" y="170"/>
                  <a:pt x="312" y="147"/>
                  <a:pt x="315" y="124"/>
                </a:cubicBezTo>
                <a:cubicBezTo>
                  <a:pt x="317" y="109"/>
                  <a:pt x="319" y="93"/>
                  <a:pt x="322" y="77"/>
                </a:cubicBezTo>
                <a:cubicBezTo>
                  <a:pt x="325" y="58"/>
                  <a:pt x="329" y="39"/>
                  <a:pt x="333" y="20"/>
                </a:cubicBezTo>
                <a:cubicBezTo>
                  <a:pt x="334" y="15"/>
                  <a:pt x="333" y="9"/>
                  <a:pt x="330" y="5"/>
                </a:cubicBezTo>
                <a:cubicBezTo>
                  <a:pt x="326" y="2"/>
                  <a:pt x="321" y="0"/>
                  <a:pt x="316" y="0"/>
                </a:cubicBezTo>
                <a:lnTo>
                  <a:pt x="17" y="0"/>
                </a:lnTo>
                <a:cubicBezTo>
                  <a:pt x="8" y="0"/>
                  <a:pt x="0" y="6"/>
                  <a:pt x="0" y="16"/>
                </a:cubicBezTo>
                <a:cubicBezTo>
                  <a:pt x="0" y="34"/>
                  <a:pt x="0" y="54"/>
                  <a:pt x="0" y="74"/>
                </a:cubicBezTo>
                <a:cubicBezTo>
                  <a:pt x="1" y="90"/>
                  <a:pt x="1" y="106"/>
                  <a:pt x="2" y="123"/>
                </a:cubicBezTo>
                <a:cubicBezTo>
                  <a:pt x="3" y="144"/>
                  <a:pt x="4" y="167"/>
                  <a:pt x="6" y="192"/>
                </a:cubicBezTo>
                <a:cubicBezTo>
                  <a:pt x="7" y="210"/>
                  <a:pt x="8" y="227"/>
                  <a:pt x="9" y="241"/>
                </a:cubicBezTo>
                <a:cubicBezTo>
                  <a:pt x="11" y="266"/>
                  <a:pt x="13" y="292"/>
                  <a:pt x="16" y="316"/>
                </a:cubicBezTo>
                <a:lnTo>
                  <a:pt x="21" y="380"/>
                </a:lnTo>
                <a:lnTo>
                  <a:pt x="21" y="381"/>
                </a:lnTo>
                <a:cubicBezTo>
                  <a:pt x="27" y="461"/>
                  <a:pt x="32" y="545"/>
                  <a:pt x="30" y="618"/>
                </a:cubicBezTo>
                <a:cubicBezTo>
                  <a:pt x="29" y="642"/>
                  <a:pt x="27" y="664"/>
                  <a:pt x="24" y="684"/>
                </a:cubicBezTo>
                <a:cubicBezTo>
                  <a:pt x="24" y="689"/>
                  <a:pt x="25" y="694"/>
                  <a:pt x="28" y="698"/>
                </a:cubicBezTo>
                <a:cubicBezTo>
                  <a:pt x="32" y="701"/>
                  <a:pt x="37" y="704"/>
                  <a:pt x="42" y="704"/>
                </a:cubicBezTo>
                <a:lnTo>
                  <a:pt x="224" y="704"/>
                </a:lnTo>
                <a:cubicBezTo>
                  <a:pt x="232" y="704"/>
                  <a:pt x="238" y="699"/>
                  <a:pt x="241" y="692"/>
                </a:cubicBezTo>
                <a:lnTo>
                  <a:pt x="251" y="663"/>
                </a:lnTo>
                <a:lnTo>
                  <a:pt x="325" y="702"/>
                </a:lnTo>
                <a:cubicBezTo>
                  <a:pt x="328" y="703"/>
                  <a:pt x="331" y="704"/>
                  <a:pt x="333" y="704"/>
                </a:cubicBezTo>
                <a:lnTo>
                  <a:pt x="590" y="704"/>
                </a:lnTo>
                <a:cubicBezTo>
                  <a:pt x="599" y="704"/>
                  <a:pt x="607" y="696"/>
                  <a:pt x="607" y="686"/>
                </a:cubicBezTo>
                <a:cubicBezTo>
                  <a:pt x="607" y="669"/>
                  <a:pt x="606" y="634"/>
                  <a:pt x="605" y="617"/>
                </a:cubicBezTo>
                <a:close/>
              </a:path>
            </a:pathLst>
          </a:custGeom>
          <a:solidFill>
            <a:srgbClr val="15BF45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86" name="Google Shape;3608;p109">
            <a:extLst>
              <a:ext uri="{FF2B5EF4-FFF2-40B4-BE49-F238E27FC236}">
                <a16:creationId xmlns:a16="http://schemas.microsoft.com/office/drawing/2014/main" xmlns="" id="{340D9DDB-A2CE-C547-A526-EFCE2F0FEBAB}"/>
              </a:ext>
            </a:extLst>
          </p:cNvPr>
          <p:cNvGrpSpPr/>
          <p:nvPr/>
        </p:nvGrpSpPr>
        <p:grpSpPr>
          <a:xfrm>
            <a:off x="6374487" y="3672030"/>
            <a:ext cx="432238" cy="426901"/>
            <a:chOff x="4116" y="1017"/>
            <a:chExt cx="486" cy="480"/>
          </a:xfrm>
        </p:grpSpPr>
        <p:sp>
          <p:nvSpPr>
            <p:cNvPr id="87" name="Google Shape;3609;p109">
              <a:extLst>
                <a:ext uri="{FF2B5EF4-FFF2-40B4-BE49-F238E27FC236}">
                  <a16:creationId xmlns:a16="http://schemas.microsoft.com/office/drawing/2014/main" xmlns="" id="{79D66583-6617-D542-AA25-93A0E633DC05}"/>
                </a:ext>
              </a:extLst>
            </p:cNvPr>
            <p:cNvSpPr/>
            <p:nvPr/>
          </p:nvSpPr>
          <p:spPr>
            <a:xfrm>
              <a:off x="4234" y="1340"/>
              <a:ext cx="167" cy="148"/>
            </a:xfrm>
            <a:custGeom>
              <a:avLst/>
              <a:gdLst/>
              <a:ahLst/>
              <a:cxnLst/>
              <a:rect l="l" t="t" r="r" b="b"/>
              <a:pathLst>
                <a:path w="273" h="241" extrusionOk="0">
                  <a:moveTo>
                    <a:pt x="229" y="137"/>
                  </a:moveTo>
                  <a:lnTo>
                    <a:pt x="229" y="137"/>
                  </a:lnTo>
                  <a:lnTo>
                    <a:pt x="219" y="146"/>
                  </a:lnTo>
                  <a:lnTo>
                    <a:pt x="189" y="116"/>
                  </a:lnTo>
                  <a:lnTo>
                    <a:pt x="171" y="134"/>
                  </a:lnTo>
                  <a:lnTo>
                    <a:pt x="202" y="164"/>
                  </a:lnTo>
                  <a:lnTo>
                    <a:pt x="169" y="196"/>
                  </a:lnTo>
                  <a:lnTo>
                    <a:pt x="139" y="166"/>
                  </a:lnTo>
                  <a:lnTo>
                    <a:pt x="121" y="183"/>
                  </a:lnTo>
                  <a:lnTo>
                    <a:pt x="146" y="208"/>
                  </a:lnTo>
                  <a:lnTo>
                    <a:pt x="98" y="208"/>
                  </a:lnTo>
                  <a:lnTo>
                    <a:pt x="44" y="154"/>
                  </a:lnTo>
                  <a:cubicBezTo>
                    <a:pt x="36" y="146"/>
                    <a:pt x="36" y="133"/>
                    <a:pt x="44" y="125"/>
                  </a:cubicBezTo>
                  <a:lnTo>
                    <a:pt x="54" y="115"/>
                  </a:lnTo>
                  <a:lnTo>
                    <a:pt x="74" y="136"/>
                  </a:lnTo>
                  <a:cubicBezTo>
                    <a:pt x="84" y="145"/>
                    <a:pt x="96" y="150"/>
                    <a:pt x="108" y="150"/>
                  </a:cubicBezTo>
                  <a:cubicBezTo>
                    <a:pt x="120" y="150"/>
                    <a:pt x="132" y="145"/>
                    <a:pt x="141" y="136"/>
                  </a:cubicBezTo>
                  <a:cubicBezTo>
                    <a:pt x="160" y="117"/>
                    <a:pt x="160" y="87"/>
                    <a:pt x="141" y="69"/>
                  </a:cubicBezTo>
                  <a:lnTo>
                    <a:pt x="121" y="49"/>
                  </a:lnTo>
                  <a:lnTo>
                    <a:pt x="131" y="39"/>
                  </a:lnTo>
                  <a:cubicBezTo>
                    <a:pt x="135" y="35"/>
                    <a:pt x="140" y="33"/>
                    <a:pt x="145" y="33"/>
                  </a:cubicBezTo>
                  <a:lnTo>
                    <a:pt x="145" y="33"/>
                  </a:lnTo>
                  <a:cubicBezTo>
                    <a:pt x="151" y="33"/>
                    <a:pt x="156" y="35"/>
                    <a:pt x="160" y="39"/>
                  </a:cubicBezTo>
                  <a:lnTo>
                    <a:pt x="229" y="108"/>
                  </a:lnTo>
                  <a:lnTo>
                    <a:pt x="229" y="108"/>
                  </a:lnTo>
                  <a:cubicBezTo>
                    <a:pt x="237" y="116"/>
                    <a:pt x="237" y="129"/>
                    <a:pt x="229" y="137"/>
                  </a:cubicBezTo>
                  <a:close/>
                  <a:moveTo>
                    <a:pt x="103" y="66"/>
                  </a:moveTo>
                  <a:lnTo>
                    <a:pt x="103" y="66"/>
                  </a:lnTo>
                  <a:lnTo>
                    <a:pt x="124" y="87"/>
                  </a:lnTo>
                  <a:cubicBezTo>
                    <a:pt x="128" y="91"/>
                    <a:pt x="130" y="96"/>
                    <a:pt x="130" y="102"/>
                  </a:cubicBezTo>
                  <a:cubicBezTo>
                    <a:pt x="130" y="108"/>
                    <a:pt x="128" y="114"/>
                    <a:pt x="124" y="118"/>
                  </a:cubicBezTo>
                  <a:cubicBezTo>
                    <a:pt x="115" y="127"/>
                    <a:pt x="101" y="127"/>
                    <a:pt x="92" y="118"/>
                  </a:cubicBezTo>
                  <a:lnTo>
                    <a:pt x="72" y="98"/>
                  </a:lnTo>
                  <a:lnTo>
                    <a:pt x="103" y="66"/>
                  </a:lnTo>
                  <a:close/>
                  <a:moveTo>
                    <a:pt x="252" y="85"/>
                  </a:moveTo>
                  <a:lnTo>
                    <a:pt x="252" y="85"/>
                  </a:lnTo>
                  <a:lnTo>
                    <a:pt x="183" y="15"/>
                  </a:lnTo>
                  <a:cubicBezTo>
                    <a:pt x="173" y="5"/>
                    <a:pt x="160" y="0"/>
                    <a:pt x="145" y="0"/>
                  </a:cubicBezTo>
                  <a:lnTo>
                    <a:pt x="145" y="0"/>
                  </a:lnTo>
                  <a:cubicBezTo>
                    <a:pt x="131" y="0"/>
                    <a:pt x="117" y="5"/>
                    <a:pt x="107" y="15"/>
                  </a:cubicBezTo>
                  <a:lnTo>
                    <a:pt x="21" y="102"/>
                  </a:lnTo>
                  <a:cubicBezTo>
                    <a:pt x="0" y="123"/>
                    <a:pt x="0" y="157"/>
                    <a:pt x="21" y="178"/>
                  </a:cubicBezTo>
                  <a:lnTo>
                    <a:pt x="79" y="236"/>
                  </a:lnTo>
                  <a:cubicBezTo>
                    <a:pt x="82" y="239"/>
                    <a:pt x="87" y="241"/>
                    <a:pt x="91" y="241"/>
                  </a:cubicBezTo>
                  <a:lnTo>
                    <a:pt x="165" y="241"/>
                  </a:lnTo>
                  <a:cubicBezTo>
                    <a:pt x="169" y="241"/>
                    <a:pt x="173" y="239"/>
                    <a:pt x="177" y="236"/>
                  </a:cubicBezTo>
                  <a:lnTo>
                    <a:pt x="252" y="160"/>
                  </a:lnTo>
                  <a:cubicBezTo>
                    <a:pt x="273" y="139"/>
                    <a:pt x="273" y="105"/>
                    <a:pt x="252" y="85"/>
                  </a:cubicBezTo>
                  <a:close/>
                </a:path>
              </a:pathLst>
            </a:custGeom>
            <a:solidFill>
              <a:srgbClr val="15BF45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8" name="Google Shape;3610;p109">
              <a:extLst>
                <a:ext uri="{FF2B5EF4-FFF2-40B4-BE49-F238E27FC236}">
                  <a16:creationId xmlns:a16="http://schemas.microsoft.com/office/drawing/2014/main" xmlns="" id="{CB11DEDF-1834-7843-BE8D-3452EDB5A6D9}"/>
                </a:ext>
              </a:extLst>
            </p:cNvPr>
            <p:cNvSpPr/>
            <p:nvPr/>
          </p:nvSpPr>
          <p:spPr>
            <a:xfrm>
              <a:off x="4116" y="1017"/>
              <a:ext cx="486" cy="480"/>
            </a:xfrm>
            <a:custGeom>
              <a:avLst/>
              <a:gdLst/>
              <a:ahLst/>
              <a:cxnLst/>
              <a:rect l="l" t="t" r="r" b="b"/>
              <a:pathLst>
                <a:path w="796" h="781" extrusionOk="0">
                  <a:moveTo>
                    <a:pt x="479" y="745"/>
                  </a:moveTo>
                  <a:lnTo>
                    <a:pt x="479" y="745"/>
                  </a:lnTo>
                  <a:lnTo>
                    <a:pt x="440" y="745"/>
                  </a:lnTo>
                  <a:lnTo>
                    <a:pt x="459" y="725"/>
                  </a:lnTo>
                  <a:lnTo>
                    <a:pt x="479" y="745"/>
                  </a:lnTo>
                  <a:close/>
                  <a:moveTo>
                    <a:pt x="254" y="520"/>
                  </a:moveTo>
                  <a:lnTo>
                    <a:pt x="254" y="520"/>
                  </a:lnTo>
                  <a:lnTo>
                    <a:pt x="258" y="524"/>
                  </a:lnTo>
                  <a:lnTo>
                    <a:pt x="197" y="586"/>
                  </a:lnTo>
                  <a:lnTo>
                    <a:pt x="156" y="545"/>
                  </a:lnTo>
                  <a:cubicBezTo>
                    <a:pt x="170" y="537"/>
                    <a:pt x="184" y="532"/>
                    <a:pt x="200" y="529"/>
                  </a:cubicBezTo>
                  <a:lnTo>
                    <a:pt x="254" y="520"/>
                  </a:lnTo>
                  <a:close/>
                  <a:moveTo>
                    <a:pt x="267" y="228"/>
                  </a:moveTo>
                  <a:lnTo>
                    <a:pt x="267" y="228"/>
                  </a:lnTo>
                  <a:cubicBezTo>
                    <a:pt x="267" y="224"/>
                    <a:pt x="270" y="221"/>
                    <a:pt x="274" y="221"/>
                  </a:cubicBezTo>
                  <a:lnTo>
                    <a:pt x="522" y="221"/>
                  </a:lnTo>
                  <a:cubicBezTo>
                    <a:pt x="526" y="221"/>
                    <a:pt x="529" y="224"/>
                    <a:pt x="529" y="228"/>
                  </a:cubicBezTo>
                  <a:lnTo>
                    <a:pt x="529" y="328"/>
                  </a:lnTo>
                  <a:cubicBezTo>
                    <a:pt x="529" y="400"/>
                    <a:pt x="470" y="459"/>
                    <a:pt x="398" y="459"/>
                  </a:cubicBezTo>
                  <a:cubicBezTo>
                    <a:pt x="325" y="459"/>
                    <a:pt x="267" y="400"/>
                    <a:pt x="267" y="328"/>
                  </a:cubicBezTo>
                  <a:lnTo>
                    <a:pt x="267" y="228"/>
                  </a:lnTo>
                  <a:close/>
                  <a:moveTo>
                    <a:pt x="207" y="637"/>
                  </a:moveTo>
                  <a:lnTo>
                    <a:pt x="207" y="637"/>
                  </a:lnTo>
                  <a:cubicBezTo>
                    <a:pt x="209" y="633"/>
                    <a:pt x="211" y="630"/>
                    <a:pt x="214" y="628"/>
                  </a:cubicBezTo>
                  <a:lnTo>
                    <a:pt x="226" y="615"/>
                  </a:lnTo>
                  <a:lnTo>
                    <a:pt x="222" y="611"/>
                  </a:lnTo>
                  <a:lnTo>
                    <a:pt x="284" y="550"/>
                  </a:lnTo>
                  <a:lnTo>
                    <a:pt x="288" y="554"/>
                  </a:lnTo>
                  <a:lnTo>
                    <a:pt x="301" y="542"/>
                  </a:lnTo>
                  <a:cubicBezTo>
                    <a:pt x="303" y="539"/>
                    <a:pt x="306" y="537"/>
                    <a:pt x="310" y="535"/>
                  </a:cubicBezTo>
                  <a:lnTo>
                    <a:pt x="315" y="531"/>
                  </a:lnTo>
                  <a:lnTo>
                    <a:pt x="296" y="512"/>
                  </a:lnTo>
                  <a:lnTo>
                    <a:pt x="312" y="509"/>
                  </a:lnTo>
                  <a:cubicBezTo>
                    <a:pt x="316" y="517"/>
                    <a:pt x="322" y="524"/>
                    <a:pt x="328" y="530"/>
                  </a:cubicBezTo>
                  <a:lnTo>
                    <a:pt x="330" y="532"/>
                  </a:lnTo>
                  <a:lnTo>
                    <a:pt x="334" y="531"/>
                  </a:lnTo>
                  <a:cubicBezTo>
                    <a:pt x="348" y="529"/>
                    <a:pt x="362" y="535"/>
                    <a:pt x="372" y="545"/>
                  </a:cubicBezTo>
                  <a:lnTo>
                    <a:pt x="382" y="554"/>
                  </a:lnTo>
                  <a:lnTo>
                    <a:pt x="383" y="556"/>
                  </a:lnTo>
                  <a:lnTo>
                    <a:pt x="385" y="556"/>
                  </a:lnTo>
                  <a:cubicBezTo>
                    <a:pt x="389" y="556"/>
                    <a:pt x="393" y="557"/>
                    <a:pt x="398" y="557"/>
                  </a:cubicBezTo>
                  <a:cubicBezTo>
                    <a:pt x="452" y="557"/>
                    <a:pt x="475" y="524"/>
                    <a:pt x="483" y="509"/>
                  </a:cubicBezTo>
                  <a:lnTo>
                    <a:pt x="596" y="529"/>
                  </a:lnTo>
                  <a:cubicBezTo>
                    <a:pt x="642" y="537"/>
                    <a:pt x="681" y="569"/>
                    <a:pt x="697" y="613"/>
                  </a:cubicBezTo>
                  <a:lnTo>
                    <a:pt x="745" y="745"/>
                  </a:lnTo>
                  <a:lnTo>
                    <a:pt x="529" y="745"/>
                  </a:lnTo>
                  <a:lnTo>
                    <a:pt x="456" y="671"/>
                  </a:lnTo>
                  <a:lnTo>
                    <a:pt x="452" y="677"/>
                  </a:lnTo>
                  <a:cubicBezTo>
                    <a:pt x="450" y="681"/>
                    <a:pt x="448" y="684"/>
                    <a:pt x="445" y="686"/>
                  </a:cubicBezTo>
                  <a:lnTo>
                    <a:pt x="433" y="699"/>
                  </a:lnTo>
                  <a:lnTo>
                    <a:pt x="434" y="700"/>
                  </a:lnTo>
                  <a:lnTo>
                    <a:pt x="390" y="745"/>
                  </a:lnTo>
                  <a:lnTo>
                    <a:pt x="263" y="745"/>
                  </a:lnTo>
                  <a:lnTo>
                    <a:pt x="50" y="745"/>
                  </a:lnTo>
                  <a:lnTo>
                    <a:pt x="99" y="613"/>
                  </a:lnTo>
                  <a:cubicBezTo>
                    <a:pt x="105" y="596"/>
                    <a:pt x="115" y="581"/>
                    <a:pt x="128" y="567"/>
                  </a:cubicBezTo>
                  <a:lnTo>
                    <a:pt x="203" y="643"/>
                  </a:lnTo>
                  <a:lnTo>
                    <a:pt x="207" y="637"/>
                  </a:lnTo>
                  <a:close/>
                  <a:moveTo>
                    <a:pt x="455" y="487"/>
                  </a:moveTo>
                  <a:lnTo>
                    <a:pt x="455" y="487"/>
                  </a:lnTo>
                  <a:cubicBezTo>
                    <a:pt x="452" y="494"/>
                    <a:pt x="439" y="521"/>
                    <a:pt x="398" y="521"/>
                  </a:cubicBezTo>
                  <a:cubicBezTo>
                    <a:pt x="356" y="521"/>
                    <a:pt x="344" y="494"/>
                    <a:pt x="341" y="487"/>
                  </a:cubicBezTo>
                  <a:lnTo>
                    <a:pt x="341" y="485"/>
                  </a:lnTo>
                  <a:cubicBezTo>
                    <a:pt x="378" y="498"/>
                    <a:pt x="418" y="498"/>
                    <a:pt x="455" y="485"/>
                  </a:cubicBezTo>
                  <a:lnTo>
                    <a:pt x="455" y="487"/>
                  </a:lnTo>
                  <a:close/>
                  <a:moveTo>
                    <a:pt x="231" y="228"/>
                  </a:moveTo>
                  <a:lnTo>
                    <a:pt x="231" y="228"/>
                  </a:lnTo>
                  <a:lnTo>
                    <a:pt x="231" y="238"/>
                  </a:lnTo>
                  <a:cubicBezTo>
                    <a:pt x="226" y="239"/>
                    <a:pt x="221" y="241"/>
                    <a:pt x="217" y="244"/>
                  </a:cubicBezTo>
                  <a:lnTo>
                    <a:pt x="217" y="216"/>
                  </a:lnTo>
                  <a:cubicBezTo>
                    <a:pt x="217" y="116"/>
                    <a:pt x="298" y="35"/>
                    <a:pt x="398" y="35"/>
                  </a:cubicBezTo>
                  <a:cubicBezTo>
                    <a:pt x="498" y="35"/>
                    <a:pt x="579" y="116"/>
                    <a:pt x="579" y="216"/>
                  </a:cubicBezTo>
                  <a:lnTo>
                    <a:pt x="579" y="244"/>
                  </a:lnTo>
                  <a:cubicBezTo>
                    <a:pt x="574" y="241"/>
                    <a:pt x="570" y="239"/>
                    <a:pt x="565" y="238"/>
                  </a:cubicBezTo>
                  <a:lnTo>
                    <a:pt x="565" y="228"/>
                  </a:lnTo>
                  <a:cubicBezTo>
                    <a:pt x="565" y="205"/>
                    <a:pt x="546" y="186"/>
                    <a:pt x="522" y="186"/>
                  </a:cubicBezTo>
                  <a:lnTo>
                    <a:pt x="274" y="186"/>
                  </a:lnTo>
                  <a:cubicBezTo>
                    <a:pt x="250" y="186"/>
                    <a:pt x="231" y="205"/>
                    <a:pt x="231" y="228"/>
                  </a:cubicBezTo>
                  <a:close/>
                  <a:moveTo>
                    <a:pt x="565" y="328"/>
                  </a:moveTo>
                  <a:lnTo>
                    <a:pt x="565" y="328"/>
                  </a:lnTo>
                  <a:lnTo>
                    <a:pt x="565" y="276"/>
                  </a:lnTo>
                  <a:cubicBezTo>
                    <a:pt x="574" y="282"/>
                    <a:pt x="579" y="292"/>
                    <a:pt x="579" y="303"/>
                  </a:cubicBezTo>
                  <a:cubicBezTo>
                    <a:pt x="579" y="314"/>
                    <a:pt x="574" y="323"/>
                    <a:pt x="565" y="329"/>
                  </a:cubicBezTo>
                  <a:cubicBezTo>
                    <a:pt x="565" y="329"/>
                    <a:pt x="565" y="328"/>
                    <a:pt x="565" y="328"/>
                  </a:cubicBezTo>
                  <a:close/>
                  <a:moveTo>
                    <a:pt x="231" y="329"/>
                  </a:moveTo>
                  <a:lnTo>
                    <a:pt x="231" y="329"/>
                  </a:lnTo>
                  <a:cubicBezTo>
                    <a:pt x="222" y="323"/>
                    <a:pt x="217" y="314"/>
                    <a:pt x="217" y="303"/>
                  </a:cubicBezTo>
                  <a:cubicBezTo>
                    <a:pt x="217" y="292"/>
                    <a:pt x="222" y="282"/>
                    <a:pt x="231" y="276"/>
                  </a:cubicBezTo>
                  <a:lnTo>
                    <a:pt x="231" y="328"/>
                  </a:lnTo>
                  <a:cubicBezTo>
                    <a:pt x="231" y="328"/>
                    <a:pt x="231" y="329"/>
                    <a:pt x="231" y="329"/>
                  </a:cubicBezTo>
                  <a:close/>
                  <a:moveTo>
                    <a:pt x="730" y="601"/>
                  </a:moveTo>
                  <a:lnTo>
                    <a:pt x="730" y="601"/>
                  </a:lnTo>
                  <a:cubicBezTo>
                    <a:pt x="710" y="545"/>
                    <a:pt x="661" y="504"/>
                    <a:pt x="602" y="494"/>
                  </a:cubicBezTo>
                  <a:lnTo>
                    <a:pt x="490" y="474"/>
                  </a:lnTo>
                  <a:lnTo>
                    <a:pt x="490" y="466"/>
                  </a:lnTo>
                  <a:cubicBezTo>
                    <a:pt x="525" y="443"/>
                    <a:pt x="549" y="409"/>
                    <a:pt x="560" y="369"/>
                  </a:cubicBezTo>
                  <a:cubicBezTo>
                    <a:pt x="591" y="363"/>
                    <a:pt x="615" y="335"/>
                    <a:pt x="615" y="303"/>
                  </a:cubicBezTo>
                  <a:lnTo>
                    <a:pt x="615" y="216"/>
                  </a:lnTo>
                  <a:cubicBezTo>
                    <a:pt x="615" y="96"/>
                    <a:pt x="517" y="0"/>
                    <a:pt x="398" y="0"/>
                  </a:cubicBezTo>
                  <a:cubicBezTo>
                    <a:pt x="278" y="0"/>
                    <a:pt x="181" y="96"/>
                    <a:pt x="181" y="216"/>
                  </a:cubicBezTo>
                  <a:lnTo>
                    <a:pt x="181" y="303"/>
                  </a:lnTo>
                  <a:cubicBezTo>
                    <a:pt x="181" y="335"/>
                    <a:pt x="205" y="363"/>
                    <a:pt x="236" y="369"/>
                  </a:cubicBezTo>
                  <a:cubicBezTo>
                    <a:pt x="246" y="408"/>
                    <a:pt x="271" y="444"/>
                    <a:pt x="306" y="466"/>
                  </a:cubicBezTo>
                  <a:lnTo>
                    <a:pt x="306" y="474"/>
                  </a:lnTo>
                  <a:lnTo>
                    <a:pt x="193" y="494"/>
                  </a:lnTo>
                  <a:cubicBezTo>
                    <a:pt x="135" y="504"/>
                    <a:pt x="86" y="545"/>
                    <a:pt x="66" y="601"/>
                  </a:cubicBezTo>
                  <a:lnTo>
                    <a:pt x="0" y="781"/>
                  </a:lnTo>
                  <a:lnTo>
                    <a:pt x="796" y="781"/>
                  </a:lnTo>
                  <a:lnTo>
                    <a:pt x="730" y="601"/>
                  </a:lnTo>
                  <a:close/>
                </a:path>
              </a:pathLst>
            </a:custGeom>
            <a:solidFill>
              <a:srgbClr val="15BF45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95" name="Google Shape;3612;p109">
            <a:extLst>
              <a:ext uri="{FF2B5EF4-FFF2-40B4-BE49-F238E27FC236}">
                <a16:creationId xmlns:a16="http://schemas.microsoft.com/office/drawing/2014/main" xmlns="" id="{83075A02-01E9-A14A-91CE-EA5DA4642B8B}"/>
              </a:ext>
            </a:extLst>
          </p:cNvPr>
          <p:cNvGrpSpPr/>
          <p:nvPr/>
        </p:nvGrpSpPr>
        <p:grpSpPr>
          <a:xfrm>
            <a:off x="6393748" y="4661844"/>
            <a:ext cx="449417" cy="447540"/>
            <a:chOff x="5922" y="1017"/>
            <a:chExt cx="479" cy="477"/>
          </a:xfrm>
        </p:grpSpPr>
        <p:sp>
          <p:nvSpPr>
            <p:cNvPr id="96" name="Google Shape;3613;p109">
              <a:extLst>
                <a:ext uri="{FF2B5EF4-FFF2-40B4-BE49-F238E27FC236}">
                  <a16:creationId xmlns:a16="http://schemas.microsoft.com/office/drawing/2014/main" xmlns="" id="{9566370C-EC74-C841-ACCA-99061C2FD297}"/>
                </a:ext>
              </a:extLst>
            </p:cNvPr>
            <p:cNvSpPr/>
            <p:nvPr/>
          </p:nvSpPr>
          <p:spPr>
            <a:xfrm>
              <a:off x="6096" y="1017"/>
              <a:ext cx="305" cy="304"/>
            </a:xfrm>
            <a:custGeom>
              <a:avLst/>
              <a:gdLst/>
              <a:ahLst/>
              <a:cxnLst/>
              <a:rect l="l" t="t" r="r" b="b"/>
              <a:pathLst>
                <a:path w="502" h="501" extrusionOk="0">
                  <a:moveTo>
                    <a:pt x="205" y="393"/>
                  </a:moveTo>
                  <a:lnTo>
                    <a:pt x="205" y="393"/>
                  </a:lnTo>
                  <a:lnTo>
                    <a:pt x="129" y="468"/>
                  </a:lnTo>
                  <a:cubicBezTo>
                    <a:pt x="125" y="472"/>
                    <a:pt x="118" y="472"/>
                    <a:pt x="113" y="468"/>
                  </a:cubicBezTo>
                  <a:lnTo>
                    <a:pt x="33" y="388"/>
                  </a:lnTo>
                  <a:cubicBezTo>
                    <a:pt x="31" y="386"/>
                    <a:pt x="30" y="383"/>
                    <a:pt x="30" y="380"/>
                  </a:cubicBezTo>
                  <a:cubicBezTo>
                    <a:pt x="30" y="377"/>
                    <a:pt x="31" y="374"/>
                    <a:pt x="33" y="372"/>
                  </a:cubicBezTo>
                  <a:lnTo>
                    <a:pt x="108" y="296"/>
                  </a:lnTo>
                  <a:lnTo>
                    <a:pt x="205" y="393"/>
                  </a:lnTo>
                  <a:close/>
                  <a:moveTo>
                    <a:pt x="260" y="171"/>
                  </a:moveTo>
                  <a:lnTo>
                    <a:pt x="260" y="171"/>
                  </a:lnTo>
                  <a:lnTo>
                    <a:pt x="395" y="36"/>
                  </a:lnTo>
                  <a:lnTo>
                    <a:pt x="465" y="106"/>
                  </a:lnTo>
                  <a:lnTo>
                    <a:pt x="330" y="241"/>
                  </a:lnTo>
                  <a:lnTo>
                    <a:pt x="260" y="171"/>
                  </a:lnTo>
                  <a:close/>
                  <a:moveTo>
                    <a:pt x="374" y="343"/>
                  </a:moveTo>
                  <a:lnTo>
                    <a:pt x="374" y="343"/>
                  </a:lnTo>
                  <a:cubicBezTo>
                    <a:pt x="390" y="328"/>
                    <a:pt x="390" y="302"/>
                    <a:pt x="374" y="286"/>
                  </a:cubicBezTo>
                  <a:lnTo>
                    <a:pt x="366" y="277"/>
                  </a:lnTo>
                  <a:lnTo>
                    <a:pt x="471" y="277"/>
                  </a:lnTo>
                  <a:lnTo>
                    <a:pt x="471" y="365"/>
                  </a:lnTo>
                  <a:lnTo>
                    <a:pt x="353" y="365"/>
                  </a:lnTo>
                  <a:lnTo>
                    <a:pt x="374" y="343"/>
                  </a:lnTo>
                  <a:close/>
                  <a:moveTo>
                    <a:pt x="257" y="403"/>
                  </a:moveTo>
                  <a:lnTo>
                    <a:pt x="257" y="403"/>
                  </a:lnTo>
                  <a:lnTo>
                    <a:pt x="98" y="244"/>
                  </a:lnTo>
                  <a:cubicBezTo>
                    <a:pt x="96" y="242"/>
                    <a:pt x="95" y="239"/>
                    <a:pt x="95" y="236"/>
                  </a:cubicBezTo>
                  <a:cubicBezTo>
                    <a:pt x="95" y="233"/>
                    <a:pt x="96" y="231"/>
                    <a:pt x="98" y="228"/>
                  </a:cubicBezTo>
                  <a:lnTo>
                    <a:pt x="179" y="148"/>
                  </a:lnTo>
                  <a:cubicBezTo>
                    <a:pt x="181" y="146"/>
                    <a:pt x="184" y="145"/>
                    <a:pt x="186" y="145"/>
                  </a:cubicBezTo>
                  <a:cubicBezTo>
                    <a:pt x="189" y="145"/>
                    <a:pt x="192" y="146"/>
                    <a:pt x="194" y="148"/>
                  </a:cubicBezTo>
                  <a:lnTo>
                    <a:pt x="353" y="307"/>
                  </a:lnTo>
                  <a:cubicBezTo>
                    <a:pt x="355" y="309"/>
                    <a:pt x="356" y="312"/>
                    <a:pt x="356" y="315"/>
                  </a:cubicBezTo>
                  <a:cubicBezTo>
                    <a:pt x="356" y="318"/>
                    <a:pt x="355" y="320"/>
                    <a:pt x="353" y="322"/>
                  </a:cubicBezTo>
                  <a:lnTo>
                    <a:pt x="273" y="403"/>
                  </a:lnTo>
                  <a:cubicBezTo>
                    <a:pt x="268" y="407"/>
                    <a:pt x="261" y="407"/>
                    <a:pt x="257" y="403"/>
                  </a:cubicBezTo>
                  <a:close/>
                  <a:moveTo>
                    <a:pt x="486" y="248"/>
                  </a:moveTo>
                  <a:lnTo>
                    <a:pt x="486" y="248"/>
                  </a:lnTo>
                  <a:lnTo>
                    <a:pt x="366" y="248"/>
                  </a:lnTo>
                  <a:lnTo>
                    <a:pt x="497" y="117"/>
                  </a:lnTo>
                  <a:cubicBezTo>
                    <a:pt x="502" y="111"/>
                    <a:pt x="502" y="101"/>
                    <a:pt x="497" y="96"/>
                  </a:cubicBezTo>
                  <a:lnTo>
                    <a:pt x="405" y="5"/>
                  </a:lnTo>
                  <a:cubicBezTo>
                    <a:pt x="400" y="0"/>
                    <a:pt x="390" y="0"/>
                    <a:pt x="384" y="5"/>
                  </a:cubicBezTo>
                  <a:lnTo>
                    <a:pt x="239" y="150"/>
                  </a:lnTo>
                  <a:lnTo>
                    <a:pt x="215" y="127"/>
                  </a:lnTo>
                  <a:cubicBezTo>
                    <a:pt x="199" y="112"/>
                    <a:pt x="174" y="112"/>
                    <a:pt x="158" y="127"/>
                  </a:cubicBezTo>
                  <a:lnTo>
                    <a:pt x="77" y="207"/>
                  </a:lnTo>
                  <a:cubicBezTo>
                    <a:pt x="61" y="223"/>
                    <a:pt x="61" y="249"/>
                    <a:pt x="77" y="265"/>
                  </a:cubicBezTo>
                  <a:lnTo>
                    <a:pt x="87" y="275"/>
                  </a:lnTo>
                  <a:lnTo>
                    <a:pt x="12" y="351"/>
                  </a:lnTo>
                  <a:cubicBezTo>
                    <a:pt x="4" y="359"/>
                    <a:pt x="0" y="369"/>
                    <a:pt x="0" y="380"/>
                  </a:cubicBezTo>
                  <a:cubicBezTo>
                    <a:pt x="0" y="391"/>
                    <a:pt x="4" y="401"/>
                    <a:pt x="12" y="409"/>
                  </a:cubicBezTo>
                  <a:lnTo>
                    <a:pt x="92" y="489"/>
                  </a:lnTo>
                  <a:cubicBezTo>
                    <a:pt x="100" y="497"/>
                    <a:pt x="110" y="501"/>
                    <a:pt x="121" y="501"/>
                  </a:cubicBezTo>
                  <a:lnTo>
                    <a:pt x="121" y="501"/>
                  </a:lnTo>
                  <a:cubicBezTo>
                    <a:pt x="132" y="501"/>
                    <a:pt x="142" y="497"/>
                    <a:pt x="150" y="489"/>
                  </a:cubicBezTo>
                  <a:lnTo>
                    <a:pt x="226" y="414"/>
                  </a:lnTo>
                  <a:lnTo>
                    <a:pt x="236" y="424"/>
                  </a:lnTo>
                  <a:cubicBezTo>
                    <a:pt x="243" y="432"/>
                    <a:pt x="254" y="436"/>
                    <a:pt x="265" y="436"/>
                  </a:cubicBezTo>
                  <a:lnTo>
                    <a:pt x="265" y="436"/>
                  </a:lnTo>
                  <a:cubicBezTo>
                    <a:pt x="276" y="436"/>
                    <a:pt x="286" y="432"/>
                    <a:pt x="294" y="424"/>
                  </a:cubicBezTo>
                  <a:lnTo>
                    <a:pt x="323" y="395"/>
                  </a:lnTo>
                  <a:lnTo>
                    <a:pt x="486" y="395"/>
                  </a:lnTo>
                  <a:cubicBezTo>
                    <a:pt x="494" y="395"/>
                    <a:pt x="501" y="388"/>
                    <a:pt x="501" y="380"/>
                  </a:cubicBezTo>
                  <a:lnTo>
                    <a:pt x="501" y="262"/>
                  </a:lnTo>
                  <a:cubicBezTo>
                    <a:pt x="501" y="254"/>
                    <a:pt x="494" y="248"/>
                    <a:pt x="486" y="248"/>
                  </a:cubicBezTo>
                  <a:close/>
                </a:path>
              </a:pathLst>
            </a:custGeom>
            <a:solidFill>
              <a:srgbClr val="15BF45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7" name="Google Shape;3614;p109">
              <a:extLst>
                <a:ext uri="{FF2B5EF4-FFF2-40B4-BE49-F238E27FC236}">
                  <a16:creationId xmlns:a16="http://schemas.microsoft.com/office/drawing/2014/main" xmlns="" id="{DF08698E-01B5-3142-93C9-028F05F25A2C}"/>
                </a:ext>
              </a:extLst>
            </p:cNvPr>
            <p:cNvSpPr/>
            <p:nvPr/>
          </p:nvSpPr>
          <p:spPr>
            <a:xfrm>
              <a:off x="6175" y="1127"/>
              <a:ext cx="115" cy="113"/>
            </a:xfrm>
            <a:custGeom>
              <a:avLst/>
              <a:gdLst/>
              <a:ahLst/>
              <a:cxnLst/>
              <a:rect l="l" t="t" r="r" b="b"/>
              <a:pathLst>
                <a:path w="189" h="186" extrusionOk="0">
                  <a:moveTo>
                    <a:pt x="152" y="133"/>
                  </a:moveTo>
                  <a:lnTo>
                    <a:pt x="152" y="133"/>
                  </a:lnTo>
                  <a:lnTo>
                    <a:pt x="134" y="151"/>
                  </a:lnTo>
                  <a:lnTo>
                    <a:pt x="37" y="54"/>
                  </a:lnTo>
                  <a:lnTo>
                    <a:pt x="55" y="36"/>
                  </a:lnTo>
                  <a:lnTo>
                    <a:pt x="152" y="133"/>
                  </a:lnTo>
                  <a:close/>
                  <a:moveTo>
                    <a:pt x="183" y="122"/>
                  </a:moveTo>
                  <a:lnTo>
                    <a:pt x="183" y="122"/>
                  </a:lnTo>
                  <a:lnTo>
                    <a:pt x="66" y="5"/>
                  </a:lnTo>
                  <a:cubicBezTo>
                    <a:pt x="63" y="2"/>
                    <a:pt x="59" y="0"/>
                    <a:pt x="55" y="0"/>
                  </a:cubicBezTo>
                  <a:lnTo>
                    <a:pt x="55" y="0"/>
                  </a:lnTo>
                  <a:cubicBezTo>
                    <a:pt x="51" y="0"/>
                    <a:pt x="48" y="2"/>
                    <a:pt x="45" y="5"/>
                  </a:cubicBezTo>
                  <a:lnTo>
                    <a:pt x="6" y="44"/>
                  </a:lnTo>
                  <a:cubicBezTo>
                    <a:pt x="0" y="50"/>
                    <a:pt x="0" y="59"/>
                    <a:pt x="6" y="65"/>
                  </a:cubicBezTo>
                  <a:lnTo>
                    <a:pt x="123" y="182"/>
                  </a:lnTo>
                  <a:cubicBezTo>
                    <a:pt x="126" y="185"/>
                    <a:pt x="130" y="186"/>
                    <a:pt x="134" y="186"/>
                  </a:cubicBezTo>
                  <a:cubicBezTo>
                    <a:pt x="137" y="186"/>
                    <a:pt x="141" y="185"/>
                    <a:pt x="144" y="182"/>
                  </a:cubicBezTo>
                  <a:lnTo>
                    <a:pt x="183" y="143"/>
                  </a:lnTo>
                  <a:cubicBezTo>
                    <a:pt x="189" y="137"/>
                    <a:pt x="189" y="128"/>
                    <a:pt x="183" y="122"/>
                  </a:cubicBezTo>
                  <a:close/>
                </a:path>
              </a:pathLst>
            </a:custGeom>
            <a:solidFill>
              <a:srgbClr val="15BF45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8" name="Google Shape;3615;p109">
              <a:extLst>
                <a:ext uri="{FF2B5EF4-FFF2-40B4-BE49-F238E27FC236}">
                  <a16:creationId xmlns:a16="http://schemas.microsoft.com/office/drawing/2014/main" xmlns="" id="{03501EA9-FBB6-ED4C-947F-E5C740BA6F28}"/>
                </a:ext>
              </a:extLst>
            </p:cNvPr>
            <p:cNvSpPr/>
            <p:nvPr/>
          </p:nvSpPr>
          <p:spPr>
            <a:xfrm>
              <a:off x="6128" y="1215"/>
              <a:ext cx="75" cy="73"/>
            </a:xfrm>
            <a:custGeom>
              <a:avLst/>
              <a:gdLst/>
              <a:ahLst/>
              <a:cxnLst/>
              <a:rect l="l" t="t" r="r" b="b"/>
              <a:pathLst>
                <a:path w="123" h="121" extrusionOk="0">
                  <a:moveTo>
                    <a:pt x="85" y="67"/>
                  </a:moveTo>
                  <a:lnTo>
                    <a:pt x="85" y="67"/>
                  </a:lnTo>
                  <a:lnTo>
                    <a:pt x="67" y="85"/>
                  </a:lnTo>
                  <a:lnTo>
                    <a:pt x="36" y="54"/>
                  </a:lnTo>
                  <a:lnTo>
                    <a:pt x="54" y="36"/>
                  </a:lnTo>
                  <a:lnTo>
                    <a:pt x="85" y="67"/>
                  </a:lnTo>
                  <a:close/>
                  <a:moveTo>
                    <a:pt x="117" y="56"/>
                  </a:moveTo>
                  <a:lnTo>
                    <a:pt x="117" y="56"/>
                  </a:lnTo>
                  <a:lnTo>
                    <a:pt x="65" y="4"/>
                  </a:lnTo>
                  <a:cubicBezTo>
                    <a:pt x="62" y="1"/>
                    <a:pt x="58" y="0"/>
                    <a:pt x="54" y="0"/>
                  </a:cubicBezTo>
                  <a:lnTo>
                    <a:pt x="54" y="0"/>
                  </a:lnTo>
                  <a:cubicBezTo>
                    <a:pt x="50" y="0"/>
                    <a:pt x="47" y="1"/>
                    <a:pt x="44" y="4"/>
                  </a:cubicBezTo>
                  <a:lnTo>
                    <a:pt x="5" y="43"/>
                  </a:lnTo>
                  <a:cubicBezTo>
                    <a:pt x="2" y="46"/>
                    <a:pt x="0" y="50"/>
                    <a:pt x="0" y="54"/>
                  </a:cubicBezTo>
                  <a:cubicBezTo>
                    <a:pt x="0" y="58"/>
                    <a:pt x="2" y="61"/>
                    <a:pt x="5" y="64"/>
                  </a:cubicBezTo>
                  <a:lnTo>
                    <a:pt x="57" y="116"/>
                  </a:lnTo>
                  <a:cubicBezTo>
                    <a:pt x="60" y="119"/>
                    <a:pt x="63" y="121"/>
                    <a:pt x="67" y="121"/>
                  </a:cubicBezTo>
                  <a:cubicBezTo>
                    <a:pt x="71" y="121"/>
                    <a:pt x="75" y="119"/>
                    <a:pt x="78" y="116"/>
                  </a:cubicBezTo>
                  <a:lnTo>
                    <a:pt x="117" y="77"/>
                  </a:lnTo>
                  <a:cubicBezTo>
                    <a:pt x="123" y="71"/>
                    <a:pt x="123" y="62"/>
                    <a:pt x="117" y="56"/>
                  </a:cubicBezTo>
                  <a:close/>
                </a:path>
              </a:pathLst>
            </a:custGeom>
            <a:solidFill>
              <a:srgbClr val="15BF45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9" name="Google Shape;3616;p109">
              <a:extLst>
                <a:ext uri="{FF2B5EF4-FFF2-40B4-BE49-F238E27FC236}">
                  <a16:creationId xmlns:a16="http://schemas.microsoft.com/office/drawing/2014/main" xmlns="" id="{64A65D9A-4BDD-6A4B-AD3C-5477D1BBD998}"/>
                </a:ext>
              </a:extLst>
            </p:cNvPr>
            <p:cNvSpPr/>
            <p:nvPr/>
          </p:nvSpPr>
          <p:spPr>
            <a:xfrm>
              <a:off x="5922" y="1253"/>
              <a:ext cx="241" cy="241"/>
            </a:xfrm>
            <a:custGeom>
              <a:avLst/>
              <a:gdLst/>
              <a:ahLst/>
              <a:cxnLst/>
              <a:rect l="l" t="t" r="r" b="b"/>
              <a:pathLst>
                <a:path w="396" h="396" extrusionOk="0">
                  <a:moveTo>
                    <a:pt x="164" y="302"/>
                  </a:moveTo>
                  <a:lnTo>
                    <a:pt x="164" y="302"/>
                  </a:lnTo>
                  <a:lnTo>
                    <a:pt x="107" y="360"/>
                  </a:lnTo>
                  <a:lnTo>
                    <a:pt x="36" y="289"/>
                  </a:lnTo>
                  <a:lnTo>
                    <a:pt x="94" y="232"/>
                  </a:lnTo>
                  <a:lnTo>
                    <a:pt x="164" y="302"/>
                  </a:lnTo>
                  <a:close/>
                  <a:moveTo>
                    <a:pt x="86" y="161"/>
                  </a:moveTo>
                  <a:lnTo>
                    <a:pt x="86" y="161"/>
                  </a:lnTo>
                  <a:lnTo>
                    <a:pt x="211" y="37"/>
                  </a:lnTo>
                  <a:lnTo>
                    <a:pt x="359" y="185"/>
                  </a:lnTo>
                  <a:lnTo>
                    <a:pt x="232" y="313"/>
                  </a:lnTo>
                  <a:cubicBezTo>
                    <a:pt x="227" y="317"/>
                    <a:pt x="220" y="317"/>
                    <a:pt x="216" y="313"/>
                  </a:cubicBezTo>
                  <a:lnTo>
                    <a:pt x="83" y="180"/>
                  </a:lnTo>
                  <a:cubicBezTo>
                    <a:pt x="81" y="178"/>
                    <a:pt x="80" y="175"/>
                    <a:pt x="80" y="172"/>
                  </a:cubicBezTo>
                  <a:cubicBezTo>
                    <a:pt x="80" y="169"/>
                    <a:pt x="81" y="166"/>
                    <a:pt x="83" y="164"/>
                  </a:cubicBezTo>
                  <a:lnTo>
                    <a:pt x="86" y="161"/>
                  </a:lnTo>
                  <a:lnTo>
                    <a:pt x="86" y="161"/>
                  </a:lnTo>
                  <a:close/>
                  <a:moveTo>
                    <a:pt x="391" y="175"/>
                  </a:moveTo>
                  <a:lnTo>
                    <a:pt x="391" y="175"/>
                  </a:lnTo>
                  <a:lnTo>
                    <a:pt x="221" y="5"/>
                  </a:lnTo>
                  <a:cubicBezTo>
                    <a:pt x="216" y="0"/>
                    <a:pt x="206" y="0"/>
                    <a:pt x="200" y="5"/>
                  </a:cubicBezTo>
                  <a:lnTo>
                    <a:pt x="62" y="143"/>
                  </a:lnTo>
                  <a:cubicBezTo>
                    <a:pt x="46" y="159"/>
                    <a:pt x="46" y="185"/>
                    <a:pt x="62" y="201"/>
                  </a:cubicBezTo>
                  <a:lnTo>
                    <a:pt x="73" y="211"/>
                  </a:lnTo>
                  <a:lnTo>
                    <a:pt x="5" y="279"/>
                  </a:lnTo>
                  <a:cubicBezTo>
                    <a:pt x="0" y="285"/>
                    <a:pt x="0" y="294"/>
                    <a:pt x="5" y="300"/>
                  </a:cubicBezTo>
                  <a:lnTo>
                    <a:pt x="96" y="391"/>
                  </a:lnTo>
                  <a:cubicBezTo>
                    <a:pt x="99" y="394"/>
                    <a:pt x="103" y="396"/>
                    <a:pt x="107" y="396"/>
                  </a:cubicBezTo>
                  <a:cubicBezTo>
                    <a:pt x="110" y="396"/>
                    <a:pt x="114" y="394"/>
                    <a:pt x="117" y="391"/>
                  </a:cubicBezTo>
                  <a:lnTo>
                    <a:pt x="185" y="323"/>
                  </a:lnTo>
                  <a:lnTo>
                    <a:pt x="195" y="334"/>
                  </a:lnTo>
                  <a:cubicBezTo>
                    <a:pt x="211" y="350"/>
                    <a:pt x="237" y="350"/>
                    <a:pt x="253" y="334"/>
                  </a:cubicBezTo>
                  <a:lnTo>
                    <a:pt x="391" y="196"/>
                  </a:lnTo>
                  <a:cubicBezTo>
                    <a:pt x="396" y="190"/>
                    <a:pt x="396" y="181"/>
                    <a:pt x="391" y="175"/>
                  </a:cubicBezTo>
                  <a:close/>
                </a:path>
              </a:pathLst>
            </a:custGeom>
            <a:solidFill>
              <a:srgbClr val="15BF45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0" name="Google Shape;3617;p109">
              <a:extLst>
                <a:ext uri="{FF2B5EF4-FFF2-40B4-BE49-F238E27FC236}">
                  <a16:creationId xmlns:a16="http://schemas.microsoft.com/office/drawing/2014/main" xmlns="" id="{3FEDD136-B8C4-0B42-92C2-22D8FD9AE5F0}"/>
                </a:ext>
              </a:extLst>
            </p:cNvPr>
            <p:cNvSpPr/>
            <p:nvPr/>
          </p:nvSpPr>
          <p:spPr>
            <a:xfrm>
              <a:off x="5986" y="1294"/>
              <a:ext cx="138" cy="136"/>
            </a:xfrm>
            <a:custGeom>
              <a:avLst/>
              <a:gdLst/>
              <a:ahLst/>
              <a:cxnLst/>
              <a:rect l="l" t="t" r="r" b="b"/>
              <a:pathLst>
                <a:path w="226" h="225" extrusionOk="0">
                  <a:moveTo>
                    <a:pt x="189" y="119"/>
                  </a:moveTo>
                  <a:lnTo>
                    <a:pt x="189" y="119"/>
                  </a:lnTo>
                  <a:lnTo>
                    <a:pt x="119" y="189"/>
                  </a:lnTo>
                  <a:lnTo>
                    <a:pt x="36" y="106"/>
                  </a:lnTo>
                  <a:lnTo>
                    <a:pt x="106" y="36"/>
                  </a:lnTo>
                  <a:lnTo>
                    <a:pt x="189" y="119"/>
                  </a:lnTo>
                  <a:close/>
                  <a:moveTo>
                    <a:pt x="221" y="109"/>
                  </a:moveTo>
                  <a:lnTo>
                    <a:pt x="221" y="109"/>
                  </a:lnTo>
                  <a:lnTo>
                    <a:pt x="116" y="4"/>
                  </a:lnTo>
                  <a:cubicBezTo>
                    <a:pt x="113" y="2"/>
                    <a:pt x="110" y="0"/>
                    <a:pt x="106" y="0"/>
                  </a:cubicBezTo>
                  <a:lnTo>
                    <a:pt x="106" y="0"/>
                  </a:lnTo>
                  <a:cubicBezTo>
                    <a:pt x="102" y="0"/>
                    <a:pt x="98" y="2"/>
                    <a:pt x="95" y="4"/>
                  </a:cubicBezTo>
                  <a:lnTo>
                    <a:pt x="4" y="96"/>
                  </a:lnTo>
                  <a:cubicBezTo>
                    <a:pt x="1" y="98"/>
                    <a:pt x="0" y="102"/>
                    <a:pt x="0" y="106"/>
                  </a:cubicBezTo>
                  <a:cubicBezTo>
                    <a:pt x="0" y="110"/>
                    <a:pt x="1" y="114"/>
                    <a:pt x="4" y="117"/>
                  </a:cubicBezTo>
                  <a:lnTo>
                    <a:pt x="108" y="221"/>
                  </a:lnTo>
                  <a:cubicBezTo>
                    <a:pt x="111" y="224"/>
                    <a:pt x="115" y="225"/>
                    <a:pt x="119" y="225"/>
                  </a:cubicBezTo>
                  <a:cubicBezTo>
                    <a:pt x="123" y="225"/>
                    <a:pt x="126" y="224"/>
                    <a:pt x="129" y="221"/>
                  </a:cubicBezTo>
                  <a:lnTo>
                    <a:pt x="221" y="130"/>
                  </a:lnTo>
                  <a:cubicBezTo>
                    <a:pt x="226" y="124"/>
                    <a:pt x="226" y="115"/>
                    <a:pt x="221" y="109"/>
                  </a:cubicBezTo>
                  <a:close/>
                </a:path>
              </a:pathLst>
            </a:custGeom>
            <a:solidFill>
              <a:srgbClr val="15BF45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5" name="Google Shape;3600;p109">
            <a:extLst>
              <a:ext uri="{FF2B5EF4-FFF2-40B4-BE49-F238E27FC236}">
                <a16:creationId xmlns:a16="http://schemas.microsoft.com/office/drawing/2014/main" xmlns="" id="{B096FA14-B1F3-F649-A6E9-684DAA490DF6}"/>
              </a:ext>
            </a:extLst>
          </p:cNvPr>
          <p:cNvGrpSpPr/>
          <p:nvPr/>
        </p:nvGrpSpPr>
        <p:grpSpPr>
          <a:xfrm>
            <a:off x="6374487" y="1777046"/>
            <a:ext cx="450134" cy="454994"/>
            <a:chOff x="414" y="1024"/>
            <a:chExt cx="463" cy="468"/>
          </a:xfrm>
        </p:grpSpPr>
        <p:sp>
          <p:nvSpPr>
            <p:cNvPr id="106" name="Google Shape;3601;p109">
              <a:extLst>
                <a:ext uri="{FF2B5EF4-FFF2-40B4-BE49-F238E27FC236}">
                  <a16:creationId xmlns:a16="http://schemas.microsoft.com/office/drawing/2014/main" xmlns="" id="{D50C3287-EDE0-AB43-9C22-50337AD7AEE7}"/>
                </a:ext>
              </a:extLst>
            </p:cNvPr>
            <p:cNvSpPr/>
            <p:nvPr/>
          </p:nvSpPr>
          <p:spPr>
            <a:xfrm>
              <a:off x="414" y="1024"/>
              <a:ext cx="463" cy="468"/>
            </a:xfrm>
            <a:custGeom>
              <a:avLst/>
              <a:gdLst/>
              <a:ahLst/>
              <a:cxnLst/>
              <a:rect l="l" t="t" r="r" b="b"/>
              <a:pathLst>
                <a:path w="753" h="768" extrusionOk="0">
                  <a:moveTo>
                    <a:pt x="570" y="555"/>
                  </a:moveTo>
                  <a:lnTo>
                    <a:pt x="570" y="555"/>
                  </a:lnTo>
                  <a:lnTo>
                    <a:pt x="570" y="555"/>
                  </a:lnTo>
                  <a:cubicBezTo>
                    <a:pt x="569" y="557"/>
                    <a:pt x="568" y="558"/>
                    <a:pt x="567" y="560"/>
                  </a:cubicBezTo>
                  <a:cubicBezTo>
                    <a:pt x="567" y="561"/>
                    <a:pt x="567" y="563"/>
                    <a:pt x="567" y="564"/>
                  </a:cubicBezTo>
                  <a:lnTo>
                    <a:pt x="567" y="564"/>
                  </a:lnTo>
                  <a:lnTo>
                    <a:pt x="567" y="627"/>
                  </a:lnTo>
                  <a:lnTo>
                    <a:pt x="520" y="627"/>
                  </a:lnTo>
                  <a:cubicBezTo>
                    <a:pt x="520" y="627"/>
                    <a:pt x="520" y="627"/>
                    <a:pt x="520" y="627"/>
                  </a:cubicBezTo>
                  <a:lnTo>
                    <a:pt x="499" y="568"/>
                  </a:lnTo>
                  <a:cubicBezTo>
                    <a:pt x="494" y="553"/>
                    <a:pt x="479" y="543"/>
                    <a:pt x="463" y="543"/>
                  </a:cubicBezTo>
                  <a:lnTo>
                    <a:pt x="444" y="491"/>
                  </a:lnTo>
                  <a:lnTo>
                    <a:pt x="524" y="319"/>
                  </a:lnTo>
                  <a:cubicBezTo>
                    <a:pt x="535" y="297"/>
                    <a:pt x="531" y="271"/>
                    <a:pt x="516" y="252"/>
                  </a:cubicBezTo>
                  <a:lnTo>
                    <a:pt x="516" y="106"/>
                  </a:lnTo>
                  <a:cubicBezTo>
                    <a:pt x="516" y="92"/>
                    <a:pt x="526" y="80"/>
                    <a:pt x="540" y="78"/>
                  </a:cubicBezTo>
                  <a:cubicBezTo>
                    <a:pt x="547" y="77"/>
                    <a:pt x="554" y="80"/>
                    <a:pt x="559" y="85"/>
                  </a:cubicBezTo>
                  <a:cubicBezTo>
                    <a:pt x="564" y="89"/>
                    <a:pt x="567" y="96"/>
                    <a:pt x="567" y="103"/>
                  </a:cubicBezTo>
                  <a:lnTo>
                    <a:pt x="567" y="392"/>
                  </a:lnTo>
                  <a:cubicBezTo>
                    <a:pt x="567" y="402"/>
                    <a:pt x="573" y="412"/>
                    <a:pt x="583" y="416"/>
                  </a:cubicBezTo>
                  <a:cubicBezTo>
                    <a:pt x="592" y="420"/>
                    <a:pt x="603" y="418"/>
                    <a:pt x="611" y="410"/>
                  </a:cubicBezTo>
                  <a:lnTo>
                    <a:pt x="657" y="364"/>
                  </a:lnTo>
                  <a:cubicBezTo>
                    <a:pt x="672" y="350"/>
                    <a:pt x="695" y="350"/>
                    <a:pt x="710" y="365"/>
                  </a:cubicBezTo>
                  <a:cubicBezTo>
                    <a:pt x="725" y="379"/>
                    <a:pt x="725" y="403"/>
                    <a:pt x="711" y="418"/>
                  </a:cubicBezTo>
                  <a:lnTo>
                    <a:pt x="570" y="555"/>
                  </a:lnTo>
                  <a:close/>
                  <a:moveTo>
                    <a:pt x="593" y="665"/>
                  </a:moveTo>
                  <a:lnTo>
                    <a:pt x="593" y="665"/>
                  </a:lnTo>
                  <a:lnTo>
                    <a:pt x="593" y="729"/>
                  </a:lnTo>
                  <a:cubicBezTo>
                    <a:pt x="593" y="736"/>
                    <a:pt x="587" y="742"/>
                    <a:pt x="580" y="742"/>
                  </a:cubicBezTo>
                  <a:lnTo>
                    <a:pt x="315" y="742"/>
                  </a:lnTo>
                  <a:lnTo>
                    <a:pt x="421" y="704"/>
                  </a:lnTo>
                  <a:lnTo>
                    <a:pt x="542" y="704"/>
                  </a:lnTo>
                  <a:lnTo>
                    <a:pt x="542" y="716"/>
                  </a:lnTo>
                  <a:cubicBezTo>
                    <a:pt x="542" y="723"/>
                    <a:pt x="547" y="729"/>
                    <a:pt x="554" y="729"/>
                  </a:cubicBezTo>
                  <a:cubicBezTo>
                    <a:pt x="561" y="729"/>
                    <a:pt x="567" y="723"/>
                    <a:pt x="567" y="716"/>
                  </a:cubicBezTo>
                  <a:lnTo>
                    <a:pt x="567" y="704"/>
                  </a:lnTo>
                  <a:cubicBezTo>
                    <a:pt x="567" y="690"/>
                    <a:pt x="556" y="678"/>
                    <a:pt x="542" y="678"/>
                  </a:cubicBezTo>
                  <a:lnTo>
                    <a:pt x="491" y="678"/>
                  </a:lnTo>
                  <a:lnTo>
                    <a:pt x="498" y="676"/>
                  </a:lnTo>
                  <a:cubicBezTo>
                    <a:pt x="508" y="672"/>
                    <a:pt x="517" y="663"/>
                    <a:pt x="520" y="653"/>
                  </a:cubicBezTo>
                  <a:lnTo>
                    <a:pt x="580" y="653"/>
                  </a:lnTo>
                  <a:cubicBezTo>
                    <a:pt x="587" y="653"/>
                    <a:pt x="593" y="658"/>
                    <a:pt x="593" y="665"/>
                  </a:cubicBezTo>
                  <a:close/>
                  <a:moveTo>
                    <a:pt x="241" y="742"/>
                  </a:moveTo>
                  <a:lnTo>
                    <a:pt x="241" y="742"/>
                  </a:lnTo>
                  <a:lnTo>
                    <a:pt x="211" y="659"/>
                  </a:lnTo>
                  <a:lnTo>
                    <a:pt x="222" y="655"/>
                  </a:lnTo>
                  <a:lnTo>
                    <a:pt x="459" y="569"/>
                  </a:lnTo>
                  <a:cubicBezTo>
                    <a:pt x="460" y="569"/>
                    <a:pt x="462" y="568"/>
                    <a:pt x="463" y="568"/>
                  </a:cubicBezTo>
                  <a:cubicBezTo>
                    <a:pt x="469" y="568"/>
                    <a:pt x="473" y="572"/>
                    <a:pt x="475" y="577"/>
                  </a:cubicBezTo>
                  <a:lnTo>
                    <a:pt x="496" y="635"/>
                  </a:lnTo>
                  <a:cubicBezTo>
                    <a:pt x="498" y="639"/>
                    <a:pt x="497" y="642"/>
                    <a:pt x="496" y="645"/>
                  </a:cubicBezTo>
                  <a:cubicBezTo>
                    <a:pt x="495" y="648"/>
                    <a:pt x="492" y="651"/>
                    <a:pt x="489" y="652"/>
                  </a:cubicBezTo>
                  <a:lnTo>
                    <a:pt x="241" y="742"/>
                  </a:lnTo>
                  <a:close/>
                  <a:moveTo>
                    <a:pt x="143" y="523"/>
                  </a:moveTo>
                  <a:lnTo>
                    <a:pt x="143" y="523"/>
                  </a:lnTo>
                  <a:cubicBezTo>
                    <a:pt x="132" y="508"/>
                    <a:pt x="123" y="492"/>
                    <a:pt x="117" y="474"/>
                  </a:cubicBezTo>
                  <a:lnTo>
                    <a:pt x="110" y="456"/>
                  </a:lnTo>
                  <a:cubicBezTo>
                    <a:pt x="131" y="451"/>
                    <a:pt x="152" y="451"/>
                    <a:pt x="173" y="456"/>
                  </a:cubicBezTo>
                  <a:cubicBezTo>
                    <a:pt x="238" y="473"/>
                    <a:pt x="259" y="531"/>
                    <a:pt x="280" y="592"/>
                  </a:cubicBezTo>
                  <a:cubicBezTo>
                    <a:pt x="282" y="597"/>
                    <a:pt x="283" y="601"/>
                    <a:pt x="285" y="606"/>
                  </a:cubicBezTo>
                  <a:lnTo>
                    <a:pt x="223" y="628"/>
                  </a:lnTo>
                  <a:lnTo>
                    <a:pt x="143" y="523"/>
                  </a:lnTo>
                  <a:close/>
                  <a:moveTo>
                    <a:pt x="33" y="244"/>
                  </a:moveTo>
                  <a:lnTo>
                    <a:pt x="33" y="244"/>
                  </a:lnTo>
                  <a:cubicBezTo>
                    <a:pt x="28" y="232"/>
                    <a:pt x="33" y="217"/>
                    <a:pt x="45" y="211"/>
                  </a:cubicBezTo>
                  <a:cubicBezTo>
                    <a:pt x="52" y="208"/>
                    <a:pt x="59" y="208"/>
                    <a:pt x="65" y="211"/>
                  </a:cubicBezTo>
                  <a:cubicBezTo>
                    <a:pt x="72" y="213"/>
                    <a:pt x="77" y="219"/>
                    <a:pt x="79" y="225"/>
                  </a:cubicBezTo>
                  <a:lnTo>
                    <a:pt x="127" y="355"/>
                  </a:lnTo>
                  <a:cubicBezTo>
                    <a:pt x="127" y="357"/>
                    <a:pt x="128" y="358"/>
                    <a:pt x="129" y="359"/>
                  </a:cubicBezTo>
                  <a:cubicBezTo>
                    <a:pt x="129" y="359"/>
                    <a:pt x="130" y="360"/>
                    <a:pt x="130" y="360"/>
                  </a:cubicBezTo>
                  <a:cubicBezTo>
                    <a:pt x="131" y="361"/>
                    <a:pt x="132" y="361"/>
                    <a:pt x="133" y="362"/>
                  </a:cubicBezTo>
                  <a:cubicBezTo>
                    <a:pt x="133" y="362"/>
                    <a:pt x="133" y="362"/>
                    <a:pt x="134" y="363"/>
                  </a:cubicBezTo>
                  <a:cubicBezTo>
                    <a:pt x="135" y="363"/>
                    <a:pt x="136" y="363"/>
                    <a:pt x="137" y="363"/>
                  </a:cubicBezTo>
                  <a:cubicBezTo>
                    <a:pt x="137" y="363"/>
                    <a:pt x="138" y="363"/>
                    <a:pt x="138" y="364"/>
                  </a:cubicBezTo>
                  <a:lnTo>
                    <a:pt x="139" y="364"/>
                  </a:lnTo>
                  <a:cubicBezTo>
                    <a:pt x="143" y="364"/>
                    <a:pt x="147" y="361"/>
                    <a:pt x="149" y="358"/>
                  </a:cubicBezTo>
                  <a:cubicBezTo>
                    <a:pt x="151" y="355"/>
                    <a:pt x="152" y="350"/>
                    <a:pt x="150" y="346"/>
                  </a:cubicBezTo>
                  <a:lnTo>
                    <a:pt x="103" y="216"/>
                  </a:lnTo>
                  <a:lnTo>
                    <a:pt x="73" y="134"/>
                  </a:lnTo>
                  <a:cubicBezTo>
                    <a:pt x="68" y="121"/>
                    <a:pt x="75" y="106"/>
                    <a:pt x="88" y="102"/>
                  </a:cubicBezTo>
                  <a:cubicBezTo>
                    <a:pt x="101" y="97"/>
                    <a:pt x="115" y="104"/>
                    <a:pt x="120" y="116"/>
                  </a:cubicBezTo>
                  <a:lnTo>
                    <a:pt x="185" y="294"/>
                  </a:lnTo>
                  <a:cubicBezTo>
                    <a:pt x="185" y="295"/>
                    <a:pt x="186" y="297"/>
                    <a:pt x="187" y="298"/>
                  </a:cubicBezTo>
                  <a:cubicBezTo>
                    <a:pt x="187" y="298"/>
                    <a:pt x="188" y="298"/>
                    <a:pt x="188" y="299"/>
                  </a:cubicBezTo>
                  <a:cubicBezTo>
                    <a:pt x="189" y="299"/>
                    <a:pt x="190" y="300"/>
                    <a:pt x="191" y="301"/>
                  </a:cubicBezTo>
                  <a:cubicBezTo>
                    <a:pt x="191" y="301"/>
                    <a:pt x="191" y="301"/>
                    <a:pt x="192" y="301"/>
                  </a:cubicBezTo>
                  <a:cubicBezTo>
                    <a:pt x="193" y="302"/>
                    <a:pt x="194" y="302"/>
                    <a:pt x="195" y="302"/>
                  </a:cubicBezTo>
                  <a:cubicBezTo>
                    <a:pt x="195" y="302"/>
                    <a:pt x="196" y="302"/>
                    <a:pt x="196" y="302"/>
                  </a:cubicBezTo>
                  <a:lnTo>
                    <a:pt x="197" y="302"/>
                  </a:lnTo>
                  <a:cubicBezTo>
                    <a:pt x="198" y="302"/>
                    <a:pt x="199" y="302"/>
                    <a:pt x="201" y="301"/>
                  </a:cubicBezTo>
                  <a:cubicBezTo>
                    <a:pt x="204" y="300"/>
                    <a:pt x="207" y="298"/>
                    <a:pt x="208" y="295"/>
                  </a:cubicBezTo>
                  <a:cubicBezTo>
                    <a:pt x="210" y="292"/>
                    <a:pt x="210" y="288"/>
                    <a:pt x="209" y="285"/>
                  </a:cubicBezTo>
                  <a:lnTo>
                    <a:pt x="127" y="62"/>
                  </a:lnTo>
                  <a:cubicBezTo>
                    <a:pt x="123" y="49"/>
                    <a:pt x="129" y="35"/>
                    <a:pt x="142" y="30"/>
                  </a:cubicBezTo>
                  <a:cubicBezTo>
                    <a:pt x="148" y="28"/>
                    <a:pt x="155" y="28"/>
                    <a:pt x="161" y="31"/>
                  </a:cubicBezTo>
                  <a:cubicBezTo>
                    <a:pt x="167" y="33"/>
                    <a:pt x="172" y="39"/>
                    <a:pt x="174" y="45"/>
                  </a:cubicBezTo>
                  <a:lnTo>
                    <a:pt x="256" y="268"/>
                  </a:lnTo>
                  <a:cubicBezTo>
                    <a:pt x="258" y="274"/>
                    <a:pt x="263" y="277"/>
                    <a:pt x="269" y="276"/>
                  </a:cubicBezTo>
                  <a:cubicBezTo>
                    <a:pt x="275" y="275"/>
                    <a:pt x="280" y="270"/>
                    <a:pt x="280" y="264"/>
                  </a:cubicBezTo>
                  <a:cubicBezTo>
                    <a:pt x="280" y="263"/>
                    <a:pt x="280" y="261"/>
                    <a:pt x="279" y="259"/>
                  </a:cubicBezTo>
                  <a:lnTo>
                    <a:pt x="265" y="221"/>
                  </a:lnTo>
                  <a:lnTo>
                    <a:pt x="216" y="84"/>
                  </a:lnTo>
                  <a:cubicBezTo>
                    <a:pt x="211" y="71"/>
                    <a:pt x="216" y="57"/>
                    <a:pt x="228" y="51"/>
                  </a:cubicBezTo>
                  <a:cubicBezTo>
                    <a:pt x="235" y="48"/>
                    <a:pt x="242" y="48"/>
                    <a:pt x="248" y="50"/>
                  </a:cubicBezTo>
                  <a:cubicBezTo>
                    <a:pt x="255" y="53"/>
                    <a:pt x="260" y="58"/>
                    <a:pt x="262" y="65"/>
                  </a:cubicBezTo>
                  <a:lnTo>
                    <a:pt x="359" y="332"/>
                  </a:lnTo>
                  <a:cubicBezTo>
                    <a:pt x="363" y="342"/>
                    <a:pt x="372" y="348"/>
                    <a:pt x="382" y="349"/>
                  </a:cubicBezTo>
                  <a:cubicBezTo>
                    <a:pt x="392" y="349"/>
                    <a:pt x="402" y="344"/>
                    <a:pt x="406" y="334"/>
                  </a:cubicBezTo>
                  <a:lnTo>
                    <a:pt x="433" y="276"/>
                  </a:lnTo>
                  <a:cubicBezTo>
                    <a:pt x="438" y="265"/>
                    <a:pt x="449" y="257"/>
                    <a:pt x="461" y="255"/>
                  </a:cubicBezTo>
                  <a:cubicBezTo>
                    <a:pt x="473" y="253"/>
                    <a:pt x="486" y="257"/>
                    <a:pt x="494" y="266"/>
                  </a:cubicBezTo>
                  <a:cubicBezTo>
                    <a:pt x="505" y="277"/>
                    <a:pt x="508" y="294"/>
                    <a:pt x="501" y="308"/>
                  </a:cubicBezTo>
                  <a:lnTo>
                    <a:pt x="419" y="485"/>
                  </a:lnTo>
                  <a:cubicBezTo>
                    <a:pt x="419" y="485"/>
                    <a:pt x="419" y="486"/>
                    <a:pt x="418" y="486"/>
                  </a:cubicBezTo>
                  <a:cubicBezTo>
                    <a:pt x="418" y="487"/>
                    <a:pt x="418" y="489"/>
                    <a:pt x="418" y="490"/>
                  </a:cubicBezTo>
                  <a:cubicBezTo>
                    <a:pt x="418" y="491"/>
                    <a:pt x="418" y="493"/>
                    <a:pt x="418" y="495"/>
                  </a:cubicBezTo>
                  <a:lnTo>
                    <a:pt x="438" y="550"/>
                  </a:lnTo>
                  <a:lnTo>
                    <a:pt x="309" y="597"/>
                  </a:lnTo>
                  <a:cubicBezTo>
                    <a:pt x="307" y="592"/>
                    <a:pt x="306" y="588"/>
                    <a:pt x="304" y="584"/>
                  </a:cubicBezTo>
                  <a:cubicBezTo>
                    <a:pt x="282" y="522"/>
                    <a:pt x="258" y="451"/>
                    <a:pt x="179" y="431"/>
                  </a:cubicBezTo>
                  <a:cubicBezTo>
                    <a:pt x="154" y="425"/>
                    <a:pt x="127" y="425"/>
                    <a:pt x="101" y="432"/>
                  </a:cubicBezTo>
                  <a:lnTo>
                    <a:pt x="33" y="244"/>
                  </a:lnTo>
                  <a:close/>
                  <a:moveTo>
                    <a:pt x="363" y="103"/>
                  </a:moveTo>
                  <a:lnTo>
                    <a:pt x="363" y="103"/>
                  </a:lnTo>
                  <a:cubicBezTo>
                    <a:pt x="363" y="93"/>
                    <a:pt x="369" y="84"/>
                    <a:pt x="378" y="80"/>
                  </a:cubicBezTo>
                  <a:cubicBezTo>
                    <a:pt x="388" y="76"/>
                    <a:pt x="399" y="78"/>
                    <a:pt x="406" y="85"/>
                  </a:cubicBezTo>
                  <a:cubicBezTo>
                    <a:pt x="411" y="90"/>
                    <a:pt x="414" y="97"/>
                    <a:pt x="414" y="103"/>
                  </a:cubicBezTo>
                  <a:lnTo>
                    <a:pt x="414" y="259"/>
                  </a:lnTo>
                  <a:cubicBezTo>
                    <a:pt x="412" y="261"/>
                    <a:pt x="411" y="263"/>
                    <a:pt x="410" y="265"/>
                  </a:cubicBezTo>
                  <a:lnTo>
                    <a:pt x="383" y="323"/>
                  </a:lnTo>
                  <a:lnTo>
                    <a:pt x="363" y="267"/>
                  </a:lnTo>
                  <a:lnTo>
                    <a:pt x="363" y="103"/>
                  </a:lnTo>
                  <a:close/>
                  <a:moveTo>
                    <a:pt x="439" y="54"/>
                  </a:moveTo>
                  <a:lnTo>
                    <a:pt x="439" y="54"/>
                  </a:lnTo>
                  <a:cubicBezTo>
                    <a:pt x="439" y="40"/>
                    <a:pt x="451" y="28"/>
                    <a:pt x="465" y="28"/>
                  </a:cubicBezTo>
                  <a:cubicBezTo>
                    <a:pt x="479" y="28"/>
                    <a:pt x="491" y="40"/>
                    <a:pt x="491" y="54"/>
                  </a:cubicBezTo>
                  <a:lnTo>
                    <a:pt x="491" y="234"/>
                  </a:lnTo>
                  <a:cubicBezTo>
                    <a:pt x="474" y="227"/>
                    <a:pt x="455" y="228"/>
                    <a:pt x="439" y="236"/>
                  </a:cubicBezTo>
                  <a:lnTo>
                    <a:pt x="439" y="54"/>
                  </a:lnTo>
                  <a:close/>
                  <a:moveTo>
                    <a:pt x="729" y="436"/>
                  </a:moveTo>
                  <a:lnTo>
                    <a:pt x="729" y="436"/>
                  </a:lnTo>
                  <a:cubicBezTo>
                    <a:pt x="753" y="411"/>
                    <a:pt x="753" y="371"/>
                    <a:pt x="728" y="347"/>
                  </a:cubicBezTo>
                  <a:cubicBezTo>
                    <a:pt x="704" y="322"/>
                    <a:pt x="664" y="322"/>
                    <a:pt x="639" y="346"/>
                  </a:cubicBezTo>
                  <a:lnTo>
                    <a:pt x="593" y="392"/>
                  </a:lnTo>
                  <a:lnTo>
                    <a:pt x="593" y="103"/>
                  </a:lnTo>
                  <a:cubicBezTo>
                    <a:pt x="593" y="89"/>
                    <a:pt x="587" y="76"/>
                    <a:pt x="576" y="66"/>
                  </a:cubicBezTo>
                  <a:cubicBezTo>
                    <a:pt x="566" y="56"/>
                    <a:pt x="552" y="51"/>
                    <a:pt x="538" y="53"/>
                  </a:cubicBezTo>
                  <a:cubicBezTo>
                    <a:pt x="530" y="53"/>
                    <a:pt x="523" y="56"/>
                    <a:pt x="516" y="60"/>
                  </a:cubicBezTo>
                  <a:lnTo>
                    <a:pt x="516" y="54"/>
                  </a:lnTo>
                  <a:cubicBezTo>
                    <a:pt x="516" y="26"/>
                    <a:pt x="493" y="4"/>
                    <a:pt x="465" y="4"/>
                  </a:cubicBezTo>
                  <a:cubicBezTo>
                    <a:pt x="437" y="4"/>
                    <a:pt x="414" y="26"/>
                    <a:pt x="414" y="54"/>
                  </a:cubicBezTo>
                  <a:lnTo>
                    <a:pt x="414" y="59"/>
                  </a:lnTo>
                  <a:cubicBezTo>
                    <a:pt x="406" y="55"/>
                    <a:pt x="397" y="52"/>
                    <a:pt x="388" y="52"/>
                  </a:cubicBezTo>
                  <a:cubicBezTo>
                    <a:pt x="360" y="52"/>
                    <a:pt x="337" y="75"/>
                    <a:pt x="337" y="103"/>
                  </a:cubicBezTo>
                  <a:lnTo>
                    <a:pt x="337" y="197"/>
                  </a:lnTo>
                  <a:lnTo>
                    <a:pt x="286" y="56"/>
                  </a:lnTo>
                  <a:cubicBezTo>
                    <a:pt x="281" y="43"/>
                    <a:pt x="271" y="32"/>
                    <a:pt x="258" y="27"/>
                  </a:cubicBezTo>
                  <a:cubicBezTo>
                    <a:pt x="245" y="21"/>
                    <a:pt x="231" y="22"/>
                    <a:pt x="218" y="27"/>
                  </a:cubicBezTo>
                  <a:cubicBezTo>
                    <a:pt x="211" y="30"/>
                    <a:pt x="205" y="35"/>
                    <a:pt x="200" y="41"/>
                  </a:cubicBezTo>
                  <a:lnTo>
                    <a:pt x="198" y="36"/>
                  </a:lnTo>
                  <a:cubicBezTo>
                    <a:pt x="194" y="24"/>
                    <a:pt x="184" y="13"/>
                    <a:pt x="172" y="9"/>
                  </a:cubicBezTo>
                  <a:cubicBezTo>
                    <a:pt x="154" y="0"/>
                    <a:pt x="132" y="3"/>
                    <a:pt x="117" y="16"/>
                  </a:cubicBezTo>
                  <a:cubicBezTo>
                    <a:pt x="102" y="30"/>
                    <a:pt x="96" y="51"/>
                    <a:pt x="103" y="71"/>
                  </a:cubicBezTo>
                  <a:lnTo>
                    <a:pt x="105" y="75"/>
                  </a:lnTo>
                  <a:cubicBezTo>
                    <a:pt x="96" y="74"/>
                    <a:pt x="88" y="75"/>
                    <a:pt x="79" y="78"/>
                  </a:cubicBezTo>
                  <a:cubicBezTo>
                    <a:pt x="53" y="87"/>
                    <a:pt x="40" y="116"/>
                    <a:pt x="49" y="142"/>
                  </a:cubicBezTo>
                  <a:lnTo>
                    <a:pt x="64" y="184"/>
                  </a:lnTo>
                  <a:cubicBezTo>
                    <a:pt x="54" y="182"/>
                    <a:pt x="44" y="183"/>
                    <a:pt x="35" y="188"/>
                  </a:cubicBezTo>
                  <a:cubicBezTo>
                    <a:pt x="11" y="199"/>
                    <a:pt x="0" y="228"/>
                    <a:pt x="9" y="253"/>
                  </a:cubicBezTo>
                  <a:lnTo>
                    <a:pt x="93" y="483"/>
                  </a:lnTo>
                  <a:cubicBezTo>
                    <a:pt x="100" y="503"/>
                    <a:pt x="110" y="522"/>
                    <a:pt x="123" y="539"/>
                  </a:cubicBezTo>
                  <a:lnTo>
                    <a:pt x="198" y="638"/>
                  </a:lnTo>
                  <a:cubicBezTo>
                    <a:pt x="187" y="644"/>
                    <a:pt x="183" y="657"/>
                    <a:pt x="187" y="668"/>
                  </a:cubicBezTo>
                  <a:lnTo>
                    <a:pt x="217" y="751"/>
                  </a:lnTo>
                  <a:cubicBezTo>
                    <a:pt x="219" y="757"/>
                    <a:pt x="224" y="762"/>
                    <a:pt x="230" y="765"/>
                  </a:cubicBezTo>
                  <a:cubicBezTo>
                    <a:pt x="236" y="768"/>
                    <a:pt x="243" y="768"/>
                    <a:pt x="250" y="766"/>
                  </a:cubicBezTo>
                  <a:lnTo>
                    <a:pt x="288" y="752"/>
                  </a:lnTo>
                  <a:cubicBezTo>
                    <a:pt x="292" y="761"/>
                    <a:pt x="301" y="768"/>
                    <a:pt x="312" y="768"/>
                  </a:cubicBezTo>
                  <a:lnTo>
                    <a:pt x="580" y="768"/>
                  </a:lnTo>
                  <a:cubicBezTo>
                    <a:pt x="601" y="768"/>
                    <a:pt x="618" y="750"/>
                    <a:pt x="618" y="729"/>
                  </a:cubicBezTo>
                  <a:lnTo>
                    <a:pt x="618" y="665"/>
                  </a:lnTo>
                  <a:cubicBezTo>
                    <a:pt x="618" y="649"/>
                    <a:pt x="608" y="634"/>
                    <a:pt x="592" y="629"/>
                  </a:cubicBezTo>
                  <a:lnTo>
                    <a:pt x="592" y="570"/>
                  </a:lnTo>
                  <a:lnTo>
                    <a:pt x="729" y="436"/>
                  </a:lnTo>
                  <a:close/>
                </a:path>
              </a:pathLst>
            </a:custGeom>
            <a:solidFill>
              <a:srgbClr val="15BF45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7" name="Google Shape;3602;p109">
              <a:extLst>
                <a:ext uri="{FF2B5EF4-FFF2-40B4-BE49-F238E27FC236}">
                  <a16:creationId xmlns:a16="http://schemas.microsoft.com/office/drawing/2014/main" xmlns="" id="{28701A36-3B5E-E645-AB74-72206BF370C4}"/>
                </a:ext>
              </a:extLst>
            </p:cNvPr>
            <p:cNvSpPr/>
            <p:nvPr/>
          </p:nvSpPr>
          <p:spPr>
            <a:xfrm>
              <a:off x="669" y="1431"/>
              <a:ext cx="103" cy="40"/>
            </a:xfrm>
            <a:custGeom>
              <a:avLst/>
              <a:gdLst/>
              <a:ahLst/>
              <a:cxnLst/>
              <a:rect l="l" t="t" r="r" b="b"/>
              <a:pathLst>
                <a:path w="167" h="66" extrusionOk="0">
                  <a:moveTo>
                    <a:pt x="0" y="37"/>
                  </a:moveTo>
                  <a:lnTo>
                    <a:pt x="0" y="37"/>
                  </a:lnTo>
                  <a:lnTo>
                    <a:pt x="80" y="9"/>
                  </a:lnTo>
                  <a:lnTo>
                    <a:pt x="127" y="0"/>
                  </a:lnTo>
                  <a:cubicBezTo>
                    <a:pt x="127" y="0"/>
                    <a:pt x="155" y="9"/>
                    <a:pt x="157" y="10"/>
                  </a:cubicBezTo>
                  <a:cubicBezTo>
                    <a:pt x="158" y="10"/>
                    <a:pt x="167" y="48"/>
                    <a:pt x="167" y="48"/>
                  </a:cubicBezTo>
                  <a:lnTo>
                    <a:pt x="146" y="64"/>
                  </a:lnTo>
                  <a:cubicBezTo>
                    <a:pt x="146" y="64"/>
                    <a:pt x="117" y="66"/>
                    <a:pt x="116" y="64"/>
                  </a:cubicBezTo>
                  <a:cubicBezTo>
                    <a:pt x="116" y="62"/>
                    <a:pt x="110" y="42"/>
                    <a:pt x="109" y="42"/>
                  </a:cubicBezTo>
                  <a:cubicBezTo>
                    <a:pt x="108" y="42"/>
                    <a:pt x="0" y="37"/>
                    <a:pt x="0" y="37"/>
                  </a:cubicBezTo>
                  <a:close/>
                </a:path>
              </a:pathLst>
            </a:custGeom>
            <a:solidFill>
              <a:srgbClr val="15BF45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8" name="Google Shape;3603;p109">
              <a:extLst>
                <a:ext uri="{FF2B5EF4-FFF2-40B4-BE49-F238E27FC236}">
                  <a16:creationId xmlns:a16="http://schemas.microsoft.com/office/drawing/2014/main" xmlns="" id="{8D7D12B0-13E2-BD40-B3D8-0329FE598219}"/>
                </a:ext>
              </a:extLst>
            </p:cNvPr>
            <p:cNvSpPr/>
            <p:nvPr/>
          </p:nvSpPr>
          <p:spPr>
            <a:xfrm>
              <a:off x="565" y="1390"/>
              <a:ext cx="138" cy="58"/>
            </a:xfrm>
            <a:custGeom>
              <a:avLst/>
              <a:gdLst/>
              <a:ahLst/>
              <a:cxnLst/>
              <a:rect l="l" t="t" r="r" b="b"/>
              <a:pathLst>
                <a:path w="225" h="95" extrusionOk="0">
                  <a:moveTo>
                    <a:pt x="220" y="20"/>
                  </a:moveTo>
                  <a:lnTo>
                    <a:pt x="220" y="20"/>
                  </a:lnTo>
                  <a:cubicBezTo>
                    <a:pt x="215" y="6"/>
                    <a:pt x="200" y="0"/>
                    <a:pt x="187" y="4"/>
                  </a:cubicBezTo>
                  <a:lnTo>
                    <a:pt x="164" y="13"/>
                  </a:lnTo>
                  <a:cubicBezTo>
                    <a:pt x="164" y="13"/>
                    <a:pt x="164" y="13"/>
                    <a:pt x="164" y="13"/>
                  </a:cubicBezTo>
                  <a:lnTo>
                    <a:pt x="10" y="69"/>
                  </a:lnTo>
                  <a:cubicBezTo>
                    <a:pt x="5" y="70"/>
                    <a:pt x="2" y="74"/>
                    <a:pt x="1" y="79"/>
                  </a:cubicBezTo>
                  <a:cubicBezTo>
                    <a:pt x="0" y="83"/>
                    <a:pt x="2" y="88"/>
                    <a:pt x="6" y="91"/>
                  </a:cubicBezTo>
                  <a:cubicBezTo>
                    <a:pt x="9" y="94"/>
                    <a:pt x="14" y="95"/>
                    <a:pt x="18" y="93"/>
                  </a:cubicBezTo>
                  <a:lnTo>
                    <a:pt x="173" y="36"/>
                  </a:lnTo>
                  <a:cubicBezTo>
                    <a:pt x="174" y="36"/>
                    <a:pt x="174" y="36"/>
                    <a:pt x="174" y="36"/>
                  </a:cubicBezTo>
                  <a:lnTo>
                    <a:pt x="196" y="28"/>
                  </a:lnTo>
                  <a:lnTo>
                    <a:pt x="200" y="40"/>
                  </a:lnTo>
                  <a:cubicBezTo>
                    <a:pt x="201" y="44"/>
                    <a:pt x="205" y="48"/>
                    <a:pt x="210" y="48"/>
                  </a:cubicBezTo>
                  <a:cubicBezTo>
                    <a:pt x="214" y="49"/>
                    <a:pt x="219" y="47"/>
                    <a:pt x="222" y="44"/>
                  </a:cubicBezTo>
                  <a:cubicBezTo>
                    <a:pt x="225" y="40"/>
                    <a:pt x="225" y="36"/>
                    <a:pt x="224" y="31"/>
                  </a:cubicBezTo>
                  <a:lnTo>
                    <a:pt x="220" y="20"/>
                  </a:lnTo>
                  <a:close/>
                </a:path>
              </a:pathLst>
            </a:custGeom>
            <a:solidFill>
              <a:srgbClr val="15BF45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10" name="Google Shape;1428;p39">
            <a:extLst>
              <a:ext uri="{FF2B5EF4-FFF2-40B4-BE49-F238E27FC236}">
                <a16:creationId xmlns:a16="http://schemas.microsoft.com/office/drawing/2014/main" xmlns="" id="{038A0C41-20C8-1A42-8764-E9EAB0132663}"/>
              </a:ext>
            </a:extLst>
          </p:cNvPr>
          <p:cNvSpPr/>
          <p:nvPr/>
        </p:nvSpPr>
        <p:spPr>
          <a:xfrm>
            <a:off x="2612175" y="1612487"/>
            <a:ext cx="2917832" cy="751481"/>
          </a:xfrm>
          <a:prstGeom prst="rect">
            <a:avLst/>
          </a:prstGeom>
          <a:solidFill>
            <a:srgbClr val="15BF45"/>
          </a:solidFill>
          <a:ln>
            <a:noFill/>
          </a:ln>
        </p:spPr>
        <p:txBody>
          <a:bodyPr spcFirstLastPara="1" wrap="square" lIns="900000" tIns="0" rIns="0" bIns="0" anchor="ctr" anchorCtr="0">
            <a:noAutofit/>
          </a:bodyPr>
          <a:lstStyle/>
          <a:p>
            <a:pPr>
              <a:buClr>
                <a:srgbClr val="004B54"/>
              </a:buClr>
              <a:buSzPct val="100000"/>
            </a:pPr>
            <a:endParaRPr lang="es-CL" sz="1400" kern="0" dirty="0">
              <a:solidFill>
                <a:srgbClr val="15C047"/>
              </a:solidFill>
              <a:latin typeface="ACHS Nueva Sans Medium" pitchFamily="2" charset="77"/>
            </a:endParaRPr>
          </a:p>
        </p:txBody>
      </p:sp>
      <p:sp>
        <p:nvSpPr>
          <p:cNvPr id="111" name="Google Shape;1431;p39">
            <a:extLst>
              <a:ext uri="{FF2B5EF4-FFF2-40B4-BE49-F238E27FC236}">
                <a16:creationId xmlns:a16="http://schemas.microsoft.com/office/drawing/2014/main" xmlns="" id="{39C4596C-C925-E14F-A7FA-9731C215EF4C}"/>
              </a:ext>
            </a:extLst>
          </p:cNvPr>
          <p:cNvSpPr/>
          <p:nvPr/>
        </p:nvSpPr>
        <p:spPr>
          <a:xfrm>
            <a:off x="2212700" y="1609071"/>
            <a:ext cx="755195" cy="755195"/>
          </a:xfrm>
          <a:prstGeom prst="ellipse">
            <a:avLst/>
          </a:prstGeom>
          <a:solidFill>
            <a:srgbClr val="E9EADD"/>
          </a:solidFill>
          <a:ln>
            <a:noFill/>
          </a:ln>
        </p:spPr>
        <p:txBody>
          <a:bodyPr spcFirstLastPara="1" wrap="square" lIns="72000" tIns="72000" rIns="72000" bIns="72000" anchor="t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1200"/>
              <a:buFont typeface="Arial"/>
              <a:buNone/>
              <a:tabLst/>
              <a:defRPr/>
            </a:pPr>
            <a:endParaRPr kumimoji="0" sz="1200" b="0" i="0" u="none" strike="noStrike" kern="0" cap="none" spc="0" normalizeH="0" baseline="0" noProof="0" dirty="0">
              <a:ln>
                <a:noFill/>
              </a:ln>
              <a:solidFill>
                <a:srgbClr val="616161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3" name="Marcador de texto 31">
            <a:extLst>
              <a:ext uri="{FF2B5EF4-FFF2-40B4-BE49-F238E27FC236}">
                <a16:creationId xmlns:a16="http://schemas.microsoft.com/office/drawing/2014/main" xmlns="" id="{E2997D0C-8BC8-8D43-92FF-11845D9D6DCD}"/>
              </a:ext>
            </a:extLst>
          </p:cNvPr>
          <p:cNvSpPr txBox="1">
            <a:spLocks/>
          </p:cNvSpPr>
          <p:nvPr/>
        </p:nvSpPr>
        <p:spPr>
          <a:xfrm>
            <a:off x="3022779" y="1777046"/>
            <a:ext cx="2032633" cy="490490"/>
          </a:xfrm>
          <a:prstGeom prst="rect">
            <a:avLst/>
          </a:prstGeom>
        </p:spPr>
        <p:txBody>
          <a:bodyPr>
            <a:no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r>
              <a:rPr lang="es-CL" sz="1400" b="1" dirty="0">
                <a:solidFill>
                  <a:srgbClr val="FFFFFF"/>
                </a:solidFill>
                <a:latin typeface="ACHS Nueva Sans SemiBold" pitchFamily="2" charset="77"/>
                <a:sym typeface="Helvetica Neue"/>
              </a:rPr>
              <a:t>Casco de seguridad con cubrecuello</a:t>
            </a:r>
          </a:p>
          <a:p>
            <a:pPr marL="0" indent="0"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endParaRPr lang="es-CL" sz="1400" b="1" kern="0" dirty="0">
              <a:solidFill>
                <a:srgbClr val="15C047"/>
              </a:solidFill>
              <a:latin typeface="ACHS Nueva Sans SemiBold" pitchFamily="2" charset="77"/>
            </a:endParaRPr>
          </a:p>
        </p:txBody>
      </p:sp>
      <p:grpSp>
        <p:nvGrpSpPr>
          <p:cNvPr id="74" name="Google Shape;3652;p109">
            <a:extLst>
              <a:ext uri="{FF2B5EF4-FFF2-40B4-BE49-F238E27FC236}">
                <a16:creationId xmlns:a16="http://schemas.microsoft.com/office/drawing/2014/main" xmlns="" id="{E2F27F7B-6C60-C44B-A4D9-6CCA8F4369F7}"/>
              </a:ext>
            </a:extLst>
          </p:cNvPr>
          <p:cNvGrpSpPr/>
          <p:nvPr/>
        </p:nvGrpSpPr>
        <p:grpSpPr>
          <a:xfrm>
            <a:off x="2374194" y="1814237"/>
            <a:ext cx="448482" cy="341448"/>
            <a:chOff x="1376" y="2809"/>
            <a:chExt cx="507" cy="386"/>
          </a:xfrm>
        </p:grpSpPr>
        <p:sp>
          <p:nvSpPr>
            <p:cNvPr id="75" name="Google Shape;3653;p109">
              <a:extLst>
                <a:ext uri="{FF2B5EF4-FFF2-40B4-BE49-F238E27FC236}">
                  <a16:creationId xmlns:a16="http://schemas.microsoft.com/office/drawing/2014/main" xmlns="" id="{533FA7C4-E1C2-E547-AEC0-7953CEDF38BC}"/>
                </a:ext>
              </a:extLst>
            </p:cNvPr>
            <p:cNvSpPr/>
            <p:nvPr/>
          </p:nvSpPr>
          <p:spPr>
            <a:xfrm>
              <a:off x="1412" y="2809"/>
              <a:ext cx="448" cy="301"/>
            </a:xfrm>
            <a:custGeom>
              <a:avLst/>
              <a:gdLst/>
              <a:ahLst/>
              <a:cxnLst/>
              <a:rect l="l" t="t" r="r" b="b"/>
              <a:pathLst>
                <a:path w="727" h="490" extrusionOk="0">
                  <a:moveTo>
                    <a:pt x="498" y="250"/>
                  </a:moveTo>
                  <a:lnTo>
                    <a:pt x="498" y="250"/>
                  </a:lnTo>
                  <a:cubicBezTo>
                    <a:pt x="498" y="265"/>
                    <a:pt x="486" y="277"/>
                    <a:pt x="471" y="277"/>
                  </a:cubicBezTo>
                  <a:cubicBezTo>
                    <a:pt x="456" y="277"/>
                    <a:pt x="443" y="265"/>
                    <a:pt x="443" y="250"/>
                  </a:cubicBezTo>
                  <a:lnTo>
                    <a:pt x="443" y="104"/>
                  </a:lnTo>
                  <a:lnTo>
                    <a:pt x="447" y="105"/>
                  </a:lnTo>
                  <a:cubicBezTo>
                    <a:pt x="464" y="109"/>
                    <a:pt x="480" y="115"/>
                    <a:pt x="497" y="122"/>
                  </a:cubicBezTo>
                  <a:lnTo>
                    <a:pt x="498" y="122"/>
                  </a:lnTo>
                  <a:lnTo>
                    <a:pt x="498" y="250"/>
                  </a:lnTo>
                  <a:close/>
                  <a:moveTo>
                    <a:pt x="284" y="250"/>
                  </a:moveTo>
                  <a:lnTo>
                    <a:pt x="284" y="250"/>
                  </a:lnTo>
                  <a:cubicBezTo>
                    <a:pt x="284" y="265"/>
                    <a:pt x="272" y="277"/>
                    <a:pt x="257" y="277"/>
                  </a:cubicBezTo>
                  <a:cubicBezTo>
                    <a:pt x="242" y="277"/>
                    <a:pt x="229" y="265"/>
                    <a:pt x="229" y="250"/>
                  </a:cubicBezTo>
                  <a:lnTo>
                    <a:pt x="229" y="122"/>
                  </a:lnTo>
                  <a:lnTo>
                    <a:pt x="231" y="122"/>
                  </a:lnTo>
                  <a:cubicBezTo>
                    <a:pt x="248" y="114"/>
                    <a:pt x="265" y="109"/>
                    <a:pt x="282" y="104"/>
                  </a:cubicBezTo>
                  <a:lnTo>
                    <a:pt x="285" y="103"/>
                  </a:lnTo>
                  <a:lnTo>
                    <a:pt x="284" y="250"/>
                  </a:lnTo>
                  <a:close/>
                  <a:moveTo>
                    <a:pt x="712" y="490"/>
                  </a:moveTo>
                  <a:lnTo>
                    <a:pt x="712" y="490"/>
                  </a:lnTo>
                  <a:cubicBezTo>
                    <a:pt x="720" y="490"/>
                    <a:pt x="727" y="483"/>
                    <a:pt x="727" y="475"/>
                  </a:cubicBezTo>
                  <a:lnTo>
                    <a:pt x="727" y="427"/>
                  </a:lnTo>
                  <a:cubicBezTo>
                    <a:pt x="727" y="255"/>
                    <a:pt x="611" y="110"/>
                    <a:pt x="444" y="72"/>
                  </a:cubicBezTo>
                  <a:lnTo>
                    <a:pt x="442" y="72"/>
                  </a:lnTo>
                  <a:lnTo>
                    <a:pt x="442" y="69"/>
                  </a:lnTo>
                  <a:cubicBezTo>
                    <a:pt x="438" y="29"/>
                    <a:pt x="404" y="0"/>
                    <a:pt x="364" y="0"/>
                  </a:cubicBezTo>
                  <a:cubicBezTo>
                    <a:pt x="323" y="0"/>
                    <a:pt x="290" y="29"/>
                    <a:pt x="286" y="69"/>
                  </a:cubicBezTo>
                  <a:lnTo>
                    <a:pt x="286" y="72"/>
                  </a:lnTo>
                  <a:lnTo>
                    <a:pt x="284" y="72"/>
                  </a:lnTo>
                  <a:cubicBezTo>
                    <a:pt x="117" y="109"/>
                    <a:pt x="0" y="255"/>
                    <a:pt x="0" y="427"/>
                  </a:cubicBezTo>
                  <a:lnTo>
                    <a:pt x="0" y="475"/>
                  </a:lnTo>
                  <a:cubicBezTo>
                    <a:pt x="0" y="483"/>
                    <a:pt x="7" y="490"/>
                    <a:pt x="16" y="490"/>
                  </a:cubicBezTo>
                  <a:cubicBezTo>
                    <a:pt x="24" y="490"/>
                    <a:pt x="31" y="483"/>
                    <a:pt x="31" y="475"/>
                  </a:cubicBezTo>
                  <a:lnTo>
                    <a:pt x="31" y="427"/>
                  </a:lnTo>
                  <a:cubicBezTo>
                    <a:pt x="31" y="309"/>
                    <a:pt x="94" y="200"/>
                    <a:pt x="194" y="140"/>
                  </a:cubicBezTo>
                  <a:lnTo>
                    <a:pt x="199" y="137"/>
                  </a:lnTo>
                  <a:lnTo>
                    <a:pt x="199" y="250"/>
                  </a:lnTo>
                  <a:cubicBezTo>
                    <a:pt x="199" y="282"/>
                    <a:pt x="225" y="308"/>
                    <a:pt x="257" y="308"/>
                  </a:cubicBezTo>
                  <a:cubicBezTo>
                    <a:pt x="289" y="308"/>
                    <a:pt x="315" y="282"/>
                    <a:pt x="315" y="250"/>
                  </a:cubicBezTo>
                  <a:lnTo>
                    <a:pt x="316" y="88"/>
                  </a:lnTo>
                  <a:cubicBezTo>
                    <a:pt x="316" y="87"/>
                    <a:pt x="316" y="87"/>
                    <a:pt x="316" y="87"/>
                  </a:cubicBezTo>
                  <a:lnTo>
                    <a:pt x="316" y="86"/>
                  </a:lnTo>
                  <a:lnTo>
                    <a:pt x="316" y="86"/>
                  </a:lnTo>
                  <a:cubicBezTo>
                    <a:pt x="316" y="85"/>
                    <a:pt x="316" y="85"/>
                    <a:pt x="316" y="85"/>
                  </a:cubicBezTo>
                  <a:lnTo>
                    <a:pt x="316" y="77"/>
                  </a:lnTo>
                  <a:cubicBezTo>
                    <a:pt x="316" y="51"/>
                    <a:pt x="338" y="30"/>
                    <a:pt x="364" y="30"/>
                  </a:cubicBezTo>
                  <a:cubicBezTo>
                    <a:pt x="390" y="30"/>
                    <a:pt x="412" y="51"/>
                    <a:pt x="412" y="77"/>
                  </a:cubicBezTo>
                  <a:cubicBezTo>
                    <a:pt x="412" y="78"/>
                    <a:pt x="412" y="79"/>
                    <a:pt x="412" y="80"/>
                  </a:cubicBezTo>
                  <a:lnTo>
                    <a:pt x="412" y="86"/>
                  </a:lnTo>
                  <a:cubicBezTo>
                    <a:pt x="413" y="87"/>
                    <a:pt x="413" y="89"/>
                    <a:pt x="413" y="89"/>
                  </a:cubicBezTo>
                  <a:lnTo>
                    <a:pt x="413" y="250"/>
                  </a:lnTo>
                  <a:cubicBezTo>
                    <a:pt x="413" y="282"/>
                    <a:pt x="439" y="308"/>
                    <a:pt x="471" y="308"/>
                  </a:cubicBezTo>
                  <a:cubicBezTo>
                    <a:pt x="503" y="308"/>
                    <a:pt x="529" y="282"/>
                    <a:pt x="529" y="250"/>
                  </a:cubicBezTo>
                  <a:lnTo>
                    <a:pt x="529" y="138"/>
                  </a:lnTo>
                  <a:lnTo>
                    <a:pt x="534" y="140"/>
                  </a:lnTo>
                  <a:cubicBezTo>
                    <a:pt x="634" y="200"/>
                    <a:pt x="697" y="310"/>
                    <a:pt x="697" y="427"/>
                  </a:cubicBezTo>
                  <a:lnTo>
                    <a:pt x="697" y="475"/>
                  </a:lnTo>
                  <a:cubicBezTo>
                    <a:pt x="697" y="483"/>
                    <a:pt x="703" y="490"/>
                    <a:pt x="712" y="490"/>
                  </a:cubicBezTo>
                  <a:close/>
                </a:path>
              </a:pathLst>
            </a:custGeom>
            <a:solidFill>
              <a:srgbClr val="15BF45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76" name="Google Shape;3654;p109">
              <a:extLst>
                <a:ext uri="{FF2B5EF4-FFF2-40B4-BE49-F238E27FC236}">
                  <a16:creationId xmlns:a16="http://schemas.microsoft.com/office/drawing/2014/main" xmlns="" id="{5C3778D2-8A32-AB49-B6A3-BC64EC4EFB10}"/>
                </a:ext>
              </a:extLst>
            </p:cNvPr>
            <p:cNvSpPr/>
            <p:nvPr/>
          </p:nvSpPr>
          <p:spPr>
            <a:xfrm>
              <a:off x="1376" y="3091"/>
              <a:ext cx="507" cy="104"/>
            </a:xfrm>
            <a:custGeom>
              <a:avLst/>
              <a:gdLst/>
              <a:ahLst/>
              <a:cxnLst/>
              <a:rect l="l" t="t" r="r" b="b"/>
              <a:pathLst>
                <a:path w="823" h="170" extrusionOk="0">
                  <a:moveTo>
                    <a:pt x="50" y="31"/>
                  </a:moveTo>
                  <a:lnTo>
                    <a:pt x="50" y="31"/>
                  </a:lnTo>
                  <a:lnTo>
                    <a:pt x="50" y="31"/>
                  </a:lnTo>
                  <a:lnTo>
                    <a:pt x="366" y="50"/>
                  </a:lnTo>
                  <a:cubicBezTo>
                    <a:pt x="396" y="52"/>
                    <a:pt x="426" y="52"/>
                    <a:pt x="456" y="50"/>
                  </a:cubicBezTo>
                  <a:lnTo>
                    <a:pt x="772" y="31"/>
                  </a:lnTo>
                  <a:lnTo>
                    <a:pt x="772" y="31"/>
                  </a:lnTo>
                  <a:cubicBezTo>
                    <a:pt x="783" y="31"/>
                    <a:pt x="792" y="40"/>
                    <a:pt x="792" y="52"/>
                  </a:cubicBezTo>
                  <a:cubicBezTo>
                    <a:pt x="792" y="61"/>
                    <a:pt x="786" y="69"/>
                    <a:pt x="776" y="71"/>
                  </a:cubicBezTo>
                  <a:lnTo>
                    <a:pt x="549" y="118"/>
                  </a:lnTo>
                  <a:cubicBezTo>
                    <a:pt x="504" y="129"/>
                    <a:pt x="458" y="134"/>
                    <a:pt x="411" y="134"/>
                  </a:cubicBezTo>
                  <a:cubicBezTo>
                    <a:pt x="365" y="134"/>
                    <a:pt x="318" y="129"/>
                    <a:pt x="273" y="118"/>
                  </a:cubicBezTo>
                  <a:lnTo>
                    <a:pt x="46" y="71"/>
                  </a:lnTo>
                  <a:cubicBezTo>
                    <a:pt x="37" y="69"/>
                    <a:pt x="30" y="61"/>
                    <a:pt x="30" y="52"/>
                  </a:cubicBezTo>
                  <a:cubicBezTo>
                    <a:pt x="30" y="40"/>
                    <a:pt x="39" y="31"/>
                    <a:pt x="50" y="31"/>
                  </a:cubicBezTo>
                  <a:close/>
                  <a:moveTo>
                    <a:pt x="780" y="83"/>
                  </a:moveTo>
                  <a:lnTo>
                    <a:pt x="780" y="83"/>
                  </a:lnTo>
                  <a:lnTo>
                    <a:pt x="780" y="83"/>
                  </a:lnTo>
                  <a:lnTo>
                    <a:pt x="780" y="89"/>
                  </a:lnTo>
                  <a:lnTo>
                    <a:pt x="780" y="83"/>
                  </a:lnTo>
                  <a:close/>
                  <a:moveTo>
                    <a:pt x="40" y="101"/>
                  </a:moveTo>
                  <a:lnTo>
                    <a:pt x="40" y="101"/>
                  </a:lnTo>
                  <a:lnTo>
                    <a:pt x="266" y="148"/>
                  </a:lnTo>
                  <a:cubicBezTo>
                    <a:pt x="361" y="170"/>
                    <a:pt x="462" y="170"/>
                    <a:pt x="556" y="148"/>
                  </a:cubicBezTo>
                  <a:lnTo>
                    <a:pt x="783" y="101"/>
                  </a:lnTo>
                  <a:cubicBezTo>
                    <a:pt x="806" y="96"/>
                    <a:pt x="823" y="76"/>
                    <a:pt x="823" y="52"/>
                  </a:cubicBezTo>
                  <a:cubicBezTo>
                    <a:pt x="823" y="23"/>
                    <a:pt x="799" y="0"/>
                    <a:pt x="771" y="0"/>
                  </a:cubicBezTo>
                  <a:lnTo>
                    <a:pt x="454" y="19"/>
                  </a:lnTo>
                  <a:cubicBezTo>
                    <a:pt x="426" y="21"/>
                    <a:pt x="397" y="21"/>
                    <a:pt x="368" y="19"/>
                  </a:cubicBezTo>
                  <a:lnTo>
                    <a:pt x="50" y="0"/>
                  </a:lnTo>
                  <a:cubicBezTo>
                    <a:pt x="22" y="0"/>
                    <a:pt x="0" y="23"/>
                    <a:pt x="0" y="52"/>
                  </a:cubicBezTo>
                  <a:cubicBezTo>
                    <a:pt x="0" y="76"/>
                    <a:pt x="16" y="96"/>
                    <a:pt x="40" y="101"/>
                  </a:cubicBezTo>
                  <a:close/>
                </a:path>
              </a:pathLst>
            </a:custGeom>
            <a:solidFill>
              <a:srgbClr val="15BF45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20" name="Google Shape;1428;p39">
            <a:extLst>
              <a:ext uri="{FF2B5EF4-FFF2-40B4-BE49-F238E27FC236}">
                <a16:creationId xmlns:a16="http://schemas.microsoft.com/office/drawing/2014/main" xmlns="" id="{9D956D79-F7D9-B244-B2B6-6E681BCA2899}"/>
              </a:ext>
            </a:extLst>
          </p:cNvPr>
          <p:cNvSpPr/>
          <p:nvPr/>
        </p:nvSpPr>
        <p:spPr>
          <a:xfrm>
            <a:off x="2607837" y="2567646"/>
            <a:ext cx="2917832" cy="751481"/>
          </a:xfrm>
          <a:prstGeom prst="rect">
            <a:avLst/>
          </a:prstGeom>
          <a:solidFill>
            <a:srgbClr val="15BF45"/>
          </a:solidFill>
          <a:ln>
            <a:noFill/>
          </a:ln>
        </p:spPr>
        <p:txBody>
          <a:bodyPr spcFirstLastPara="1" wrap="square" lIns="900000" tIns="0" rIns="0" bIns="0" anchor="ctr" anchorCtr="0">
            <a:noAutofit/>
          </a:bodyPr>
          <a:lstStyle/>
          <a:p>
            <a:pPr>
              <a:buClr>
                <a:srgbClr val="004B54"/>
              </a:buClr>
              <a:buSzPct val="100000"/>
            </a:pPr>
            <a:endParaRPr lang="es-CL" sz="1400" kern="0" dirty="0">
              <a:solidFill>
                <a:srgbClr val="15C047"/>
              </a:solidFill>
              <a:latin typeface="ACHS Nueva Sans Medium" pitchFamily="2" charset="77"/>
            </a:endParaRPr>
          </a:p>
        </p:txBody>
      </p:sp>
      <p:sp>
        <p:nvSpPr>
          <p:cNvPr id="121" name="Google Shape;1431;p39">
            <a:extLst>
              <a:ext uri="{FF2B5EF4-FFF2-40B4-BE49-F238E27FC236}">
                <a16:creationId xmlns:a16="http://schemas.microsoft.com/office/drawing/2014/main" xmlns="" id="{680DA537-3852-C145-AAF5-AB59B06B513D}"/>
              </a:ext>
            </a:extLst>
          </p:cNvPr>
          <p:cNvSpPr/>
          <p:nvPr/>
        </p:nvSpPr>
        <p:spPr>
          <a:xfrm>
            <a:off x="2208362" y="2564230"/>
            <a:ext cx="755195" cy="755195"/>
          </a:xfrm>
          <a:prstGeom prst="ellipse">
            <a:avLst/>
          </a:prstGeom>
          <a:solidFill>
            <a:srgbClr val="E9EADD"/>
          </a:solidFill>
          <a:ln>
            <a:noFill/>
          </a:ln>
        </p:spPr>
        <p:txBody>
          <a:bodyPr spcFirstLastPara="1" wrap="square" lIns="72000" tIns="72000" rIns="72000" bIns="72000" anchor="t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1200"/>
              <a:buFont typeface="Arial"/>
              <a:buNone/>
              <a:tabLst/>
              <a:defRPr/>
            </a:pPr>
            <a:endParaRPr kumimoji="0" sz="1200" b="0" i="0" u="none" strike="noStrike" kern="0" cap="none" spc="0" normalizeH="0" baseline="0" noProof="0" dirty="0">
              <a:ln>
                <a:noFill/>
              </a:ln>
              <a:solidFill>
                <a:srgbClr val="616161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2" name="Marcador de texto 31">
            <a:extLst>
              <a:ext uri="{FF2B5EF4-FFF2-40B4-BE49-F238E27FC236}">
                <a16:creationId xmlns:a16="http://schemas.microsoft.com/office/drawing/2014/main" xmlns="" id="{D0E8DEC0-13F0-CB45-8A0E-65414F979504}"/>
              </a:ext>
            </a:extLst>
          </p:cNvPr>
          <p:cNvSpPr txBox="1">
            <a:spLocks/>
          </p:cNvSpPr>
          <p:nvPr/>
        </p:nvSpPr>
        <p:spPr>
          <a:xfrm>
            <a:off x="3018441" y="2801070"/>
            <a:ext cx="2032633" cy="490490"/>
          </a:xfrm>
          <a:prstGeom prst="rect">
            <a:avLst/>
          </a:prstGeom>
        </p:spPr>
        <p:txBody>
          <a:bodyPr>
            <a:no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r>
              <a:rPr lang="es-CL" sz="1400" b="1" dirty="0">
                <a:solidFill>
                  <a:srgbClr val="FFFFFF"/>
                </a:solidFill>
                <a:latin typeface="ACHS Nueva Sans SemiBold" pitchFamily="2" charset="77"/>
                <a:sym typeface="Helvetica Neue"/>
              </a:rPr>
              <a:t>Lentes de seguridad</a:t>
            </a:r>
          </a:p>
        </p:txBody>
      </p:sp>
      <p:grpSp>
        <p:nvGrpSpPr>
          <p:cNvPr id="80" name="Google Shape;3655;p109">
            <a:extLst>
              <a:ext uri="{FF2B5EF4-FFF2-40B4-BE49-F238E27FC236}">
                <a16:creationId xmlns:a16="http://schemas.microsoft.com/office/drawing/2014/main" xmlns="" id="{9F5E770A-DC3F-9349-B18F-B204D43AB5E7}"/>
              </a:ext>
            </a:extLst>
          </p:cNvPr>
          <p:cNvGrpSpPr/>
          <p:nvPr/>
        </p:nvGrpSpPr>
        <p:grpSpPr>
          <a:xfrm>
            <a:off x="2406039" y="2750238"/>
            <a:ext cx="369344" cy="377498"/>
            <a:chOff x="2267" y="2789"/>
            <a:chExt cx="453" cy="463"/>
          </a:xfrm>
        </p:grpSpPr>
        <p:sp>
          <p:nvSpPr>
            <p:cNvPr id="81" name="Google Shape;3656;p109">
              <a:extLst>
                <a:ext uri="{FF2B5EF4-FFF2-40B4-BE49-F238E27FC236}">
                  <a16:creationId xmlns:a16="http://schemas.microsoft.com/office/drawing/2014/main" xmlns="" id="{74C63BDB-F099-AF47-9597-6690D76EE4F5}"/>
                </a:ext>
              </a:extLst>
            </p:cNvPr>
            <p:cNvSpPr/>
            <p:nvPr/>
          </p:nvSpPr>
          <p:spPr>
            <a:xfrm>
              <a:off x="2267" y="2789"/>
              <a:ext cx="453" cy="282"/>
            </a:xfrm>
            <a:custGeom>
              <a:avLst/>
              <a:gdLst/>
              <a:ahLst/>
              <a:cxnLst/>
              <a:rect l="l" t="t" r="r" b="b"/>
              <a:pathLst>
                <a:path w="747" h="462" extrusionOk="0">
                  <a:moveTo>
                    <a:pt x="260" y="295"/>
                  </a:moveTo>
                  <a:lnTo>
                    <a:pt x="260" y="295"/>
                  </a:lnTo>
                  <a:lnTo>
                    <a:pt x="260" y="79"/>
                  </a:lnTo>
                  <a:cubicBezTo>
                    <a:pt x="264" y="77"/>
                    <a:pt x="269" y="76"/>
                    <a:pt x="273" y="74"/>
                  </a:cubicBezTo>
                  <a:lnTo>
                    <a:pt x="273" y="343"/>
                  </a:lnTo>
                  <a:lnTo>
                    <a:pt x="307" y="343"/>
                  </a:lnTo>
                  <a:lnTo>
                    <a:pt x="307" y="40"/>
                  </a:lnTo>
                  <a:cubicBezTo>
                    <a:pt x="307" y="37"/>
                    <a:pt x="310" y="34"/>
                    <a:pt x="314" y="34"/>
                  </a:cubicBezTo>
                  <a:lnTo>
                    <a:pt x="433" y="34"/>
                  </a:lnTo>
                  <a:cubicBezTo>
                    <a:pt x="436" y="34"/>
                    <a:pt x="439" y="37"/>
                    <a:pt x="439" y="40"/>
                  </a:cubicBezTo>
                  <a:lnTo>
                    <a:pt x="439" y="343"/>
                  </a:lnTo>
                  <a:lnTo>
                    <a:pt x="474" y="343"/>
                  </a:lnTo>
                  <a:lnTo>
                    <a:pt x="474" y="74"/>
                  </a:lnTo>
                  <a:cubicBezTo>
                    <a:pt x="478" y="76"/>
                    <a:pt x="483" y="77"/>
                    <a:pt x="487" y="79"/>
                  </a:cubicBezTo>
                  <a:lnTo>
                    <a:pt x="487" y="295"/>
                  </a:lnTo>
                  <a:lnTo>
                    <a:pt x="521" y="295"/>
                  </a:lnTo>
                  <a:lnTo>
                    <a:pt x="521" y="95"/>
                  </a:lnTo>
                  <a:cubicBezTo>
                    <a:pt x="619" y="146"/>
                    <a:pt x="682" y="245"/>
                    <a:pt x="688" y="356"/>
                  </a:cubicBezTo>
                  <a:lnTo>
                    <a:pt x="58" y="356"/>
                  </a:lnTo>
                  <a:cubicBezTo>
                    <a:pt x="64" y="245"/>
                    <a:pt x="128" y="146"/>
                    <a:pt x="225" y="95"/>
                  </a:cubicBezTo>
                  <a:lnTo>
                    <a:pt x="225" y="295"/>
                  </a:lnTo>
                  <a:lnTo>
                    <a:pt x="260" y="295"/>
                  </a:lnTo>
                  <a:close/>
                  <a:moveTo>
                    <a:pt x="713" y="409"/>
                  </a:moveTo>
                  <a:lnTo>
                    <a:pt x="713" y="409"/>
                  </a:lnTo>
                  <a:cubicBezTo>
                    <a:pt x="713" y="419"/>
                    <a:pt x="705" y="427"/>
                    <a:pt x="694" y="427"/>
                  </a:cubicBezTo>
                  <a:lnTo>
                    <a:pt x="52" y="427"/>
                  </a:lnTo>
                  <a:cubicBezTo>
                    <a:pt x="42" y="427"/>
                    <a:pt x="34" y="419"/>
                    <a:pt x="34" y="409"/>
                  </a:cubicBezTo>
                  <a:cubicBezTo>
                    <a:pt x="34" y="399"/>
                    <a:pt x="42" y="390"/>
                    <a:pt x="52" y="390"/>
                  </a:cubicBezTo>
                  <a:lnTo>
                    <a:pt x="694" y="390"/>
                  </a:lnTo>
                  <a:cubicBezTo>
                    <a:pt x="705" y="390"/>
                    <a:pt x="713" y="399"/>
                    <a:pt x="713" y="409"/>
                  </a:cubicBezTo>
                  <a:close/>
                  <a:moveTo>
                    <a:pt x="723" y="365"/>
                  </a:moveTo>
                  <a:lnTo>
                    <a:pt x="723" y="365"/>
                  </a:lnTo>
                  <a:cubicBezTo>
                    <a:pt x="720" y="212"/>
                    <a:pt x="620" y="82"/>
                    <a:pt x="474" y="38"/>
                  </a:cubicBezTo>
                  <a:cubicBezTo>
                    <a:pt x="473" y="16"/>
                    <a:pt x="455" y="0"/>
                    <a:pt x="433" y="0"/>
                  </a:cubicBezTo>
                  <a:lnTo>
                    <a:pt x="314" y="0"/>
                  </a:lnTo>
                  <a:cubicBezTo>
                    <a:pt x="292" y="0"/>
                    <a:pt x="274" y="16"/>
                    <a:pt x="273" y="38"/>
                  </a:cubicBezTo>
                  <a:cubicBezTo>
                    <a:pt x="127" y="82"/>
                    <a:pt x="27" y="212"/>
                    <a:pt x="24" y="365"/>
                  </a:cubicBezTo>
                  <a:cubicBezTo>
                    <a:pt x="9" y="375"/>
                    <a:pt x="0" y="391"/>
                    <a:pt x="0" y="409"/>
                  </a:cubicBezTo>
                  <a:cubicBezTo>
                    <a:pt x="0" y="438"/>
                    <a:pt x="23" y="462"/>
                    <a:pt x="52" y="462"/>
                  </a:cubicBezTo>
                  <a:lnTo>
                    <a:pt x="694" y="462"/>
                  </a:lnTo>
                  <a:cubicBezTo>
                    <a:pt x="724" y="462"/>
                    <a:pt x="747" y="438"/>
                    <a:pt x="747" y="409"/>
                  </a:cubicBezTo>
                  <a:cubicBezTo>
                    <a:pt x="747" y="391"/>
                    <a:pt x="738" y="375"/>
                    <a:pt x="723" y="365"/>
                  </a:cubicBezTo>
                  <a:close/>
                </a:path>
              </a:pathLst>
            </a:custGeom>
            <a:solidFill>
              <a:srgbClr val="15BF45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2" name="Google Shape;3657;p109">
              <a:extLst>
                <a:ext uri="{FF2B5EF4-FFF2-40B4-BE49-F238E27FC236}">
                  <a16:creationId xmlns:a16="http://schemas.microsoft.com/office/drawing/2014/main" xmlns="" id="{1BFBFD22-FC0B-6042-823A-A23834549744}"/>
                </a:ext>
              </a:extLst>
            </p:cNvPr>
            <p:cNvSpPr/>
            <p:nvPr/>
          </p:nvSpPr>
          <p:spPr>
            <a:xfrm>
              <a:off x="2267" y="3087"/>
              <a:ext cx="453" cy="165"/>
            </a:xfrm>
            <a:custGeom>
              <a:avLst/>
              <a:gdLst/>
              <a:ahLst/>
              <a:cxnLst/>
              <a:rect l="l" t="t" r="r" b="b"/>
              <a:pathLst>
                <a:path w="747" h="272" extrusionOk="0">
                  <a:moveTo>
                    <a:pt x="47" y="190"/>
                  </a:moveTo>
                  <a:lnTo>
                    <a:pt x="47" y="190"/>
                  </a:lnTo>
                  <a:lnTo>
                    <a:pt x="34" y="190"/>
                  </a:lnTo>
                  <a:lnTo>
                    <a:pt x="34" y="130"/>
                  </a:lnTo>
                  <a:lnTo>
                    <a:pt x="47" y="130"/>
                  </a:lnTo>
                  <a:lnTo>
                    <a:pt x="47" y="184"/>
                  </a:lnTo>
                  <a:cubicBezTo>
                    <a:pt x="47" y="186"/>
                    <a:pt x="47" y="188"/>
                    <a:pt x="47" y="190"/>
                  </a:cubicBezTo>
                  <a:close/>
                  <a:moveTo>
                    <a:pt x="34" y="95"/>
                  </a:moveTo>
                  <a:lnTo>
                    <a:pt x="34" y="95"/>
                  </a:lnTo>
                  <a:lnTo>
                    <a:pt x="34" y="82"/>
                  </a:lnTo>
                  <a:lnTo>
                    <a:pt x="47" y="82"/>
                  </a:lnTo>
                  <a:cubicBezTo>
                    <a:pt x="47" y="85"/>
                    <a:pt x="47" y="87"/>
                    <a:pt x="47" y="89"/>
                  </a:cubicBezTo>
                  <a:lnTo>
                    <a:pt x="47" y="95"/>
                  </a:lnTo>
                  <a:lnTo>
                    <a:pt x="34" y="95"/>
                  </a:lnTo>
                  <a:close/>
                  <a:moveTo>
                    <a:pt x="306" y="208"/>
                  </a:moveTo>
                  <a:lnTo>
                    <a:pt x="306" y="208"/>
                  </a:lnTo>
                  <a:lnTo>
                    <a:pt x="303" y="216"/>
                  </a:lnTo>
                  <a:cubicBezTo>
                    <a:pt x="296" y="229"/>
                    <a:pt x="282" y="238"/>
                    <a:pt x="266" y="238"/>
                  </a:cubicBezTo>
                  <a:lnTo>
                    <a:pt x="136" y="238"/>
                  </a:lnTo>
                  <a:cubicBezTo>
                    <a:pt x="106" y="238"/>
                    <a:pt x="82" y="214"/>
                    <a:pt x="82" y="184"/>
                  </a:cubicBezTo>
                  <a:lnTo>
                    <a:pt x="82" y="89"/>
                  </a:lnTo>
                  <a:cubicBezTo>
                    <a:pt x="82" y="59"/>
                    <a:pt x="106" y="35"/>
                    <a:pt x="136" y="35"/>
                  </a:cubicBezTo>
                  <a:lnTo>
                    <a:pt x="611" y="35"/>
                  </a:lnTo>
                  <a:cubicBezTo>
                    <a:pt x="641" y="35"/>
                    <a:pt x="665" y="59"/>
                    <a:pt x="665" y="89"/>
                  </a:cubicBezTo>
                  <a:lnTo>
                    <a:pt x="665" y="184"/>
                  </a:lnTo>
                  <a:cubicBezTo>
                    <a:pt x="665" y="214"/>
                    <a:pt x="641" y="238"/>
                    <a:pt x="611" y="238"/>
                  </a:cubicBezTo>
                  <a:lnTo>
                    <a:pt x="480" y="238"/>
                  </a:lnTo>
                  <a:cubicBezTo>
                    <a:pt x="465" y="238"/>
                    <a:pt x="451" y="229"/>
                    <a:pt x="444" y="216"/>
                  </a:cubicBezTo>
                  <a:lnTo>
                    <a:pt x="440" y="208"/>
                  </a:lnTo>
                  <a:cubicBezTo>
                    <a:pt x="428" y="183"/>
                    <a:pt x="402" y="167"/>
                    <a:pt x="373" y="167"/>
                  </a:cubicBezTo>
                  <a:cubicBezTo>
                    <a:pt x="345" y="167"/>
                    <a:pt x="319" y="183"/>
                    <a:pt x="306" y="208"/>
                  </a:cubicBezTo>
                  <a:close/>
                  <a:moveTo>
                    <a:pt x="713" y="130"/>
                  </a:moveTo>
                  <a:lnTo>
                    <a:pt x="713" y="130"/>
                  </a:lnTo>
                  <a:lnTo>
                    <a:pt x="713" y="190"/>
                  </a:lnTo>
                  <a:lnTo>
                    <a:pt x="699" y="190"/>
                  </a:lnTo>
                  <a:cubicBezTo>
                    <a:pt x="700" y="188"/>
                    <a:pt x="700" y="186"/>
                    <a:pt x="700" y="184"/>
                  </a:cubicBezTo>
                  <a:lnTo>
                    <a:pt x="700" y="130"/>
                  </a:lnTo>
                  <a:lnTo>
                    <a:pt x="713" y="130"/>
                  </a:lnTo>
                  <a:close/>
                  <a:moveTo>
                    <a:pt x="699" y="82"/>
                  </a:moveTo>
                  <a:lnTo>
                    <a:pt x="699" y="82"/>
                  </a:lnTo>
                  <a:lnTo>
                    <a:pt x="713" y="82"/>
                  </a:lnTo>
                  <a:lnTo>
                    <a:pt x="713" y="95"/>
                  </a:lnTo>
                  <a:lnTo>
                    <a:pt x="700" y="95"/>
                  </a:lnTo>
                  <a:lnTo>
                    <a:pt x="700" y="89"/>
                  </a:lnTo>
                  <a:cubicBezTo>
                    <a:pt x="700" y="87"/>
                    <a:pt x="700" y="85"/>
                    <a:pt x="699" y="82"/>
                  </a:cubicBezTo>
                  <a:close/>
                  <a:moveTo>
                    <a:pt x="690" y="48"/>
                  </a:moveTo>
                  <a:lnTo>
                    <a:pt x="690" y="48"/>
                  </a:lnTo>
                  <a:cubicBezTo>
                    <a:pt x="674" y="19"/>
                    <a:pt x="644" y="0"/>
                    <a:pt x="611" y="0"/>
                  </a:cubicBezTo>
                  <a:lnTo>
                    <a:pt x="136" y="0"/>
                  </a:lnTo>
                  <a:cubicBezTo>
                    <a:pt x="103" y="0"/>
                    <a:pt x="72" y="19"/>
                    <a:pt x="57" y="48"/>
                  </a:cubicBezTo>
                  <a:lnTo>
                    <a:pt x="0" y="48"/>
                  </a:lnTo>
                  <a:lnTo>
                    <a:pt x="0" y="225"/>
                  </a:lnTo>
                  <a:lnTo>
                    <a:pt x="57" y="225"/>
                  </a:lnTo>
                  <a:cubicBezTo>
                    <a:pt x="72" y="254"/>
                    <a:pt x="103" y="272"/>
                    <a:pt x="136" y="272"/>
                  </a:cubicBezTo>
                  <a:lnTo>
                    <a:pt x="266" y="272"/>
                  </a:lnTo>
                  <a:cubicBezTo>
                    <a:pt x="295" y="272"/>
                    <a:pt x="321" y="257"/>
                    <a:pt x="333" y="231"/>
                  </a:cubicBezTo>
                  <a:lnTo>
                    <a:pt x="337" y="224"/>
                  </a:lnTo>
                  <a:cubicBezTo>
                    <a:pt x="344" y="210"/>
                    <a:pt x="358" y="201"/>
                    <a:pt x="373" y="201"/>
                  </a:cubicBezTo>
                  <a:cubicBezTo>
                    <a:pt x="389" y="201"/>
                    <a:pt x="403" y="210"/>
                    <a:pt x="410" y="224"/>
                  </a:cubicBezTo>
                  <a:lnTo>
                    <a:pt x="413" y="231"/>
                  </a:lnTo>
                  <a:cubicBezTo>
                    <a:pt x="426" y="257"/>
                    <a:pt x="452" y="272"/>
                    <a:pt x="480" y="272"/>
                  </a:cubicBezTo>
                  <a:lnTo>
                    <a:pt x="611" y="272"/>
                  </a:lnTo>
                  <a:cubicBezTo>
                    <a:pt x="644" y="272"/>
                    <a:pt x="674" y="254"/>
                    <a:pt x="690" y="225"/>
                  </a:cubicBezTo>
                  <a:lnTo>
                    <a:pt x="747" y="225"/>
                  </a:lnTo>
                  <a:lnTo>
                    <a:pt x="747" y="48"/>
                  </a:lnTo>
                  <a:lnTo>
                    <a:pt x="690" y="48"/>
                  </a:lnTo>
                  <a:close/>
                </a:path>
              </a:pathLst>
            </a:custGeom>
            <a:solidFill>
              <a:srgbClr val="15BF45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23" name="Group 122">
            <a:extLst>
              <a:ext uri="{FF2B5EF4-FFF2-40B4-BE49-F238E27FC236}">
                <a16:creationId xmlns:a16="http://schemas.microsoft.com/office/drawing/2014/main" xmlns="" id="{92D8FE60-1329-8B49-8220-615B9FE89A85}"/>
              </a:ext>
            </a:extLst>
          </p:cNvPr>
          <p:cNvGrpSpPr/>
          <p:nvPr/>
        </p:nvGrpSpPr>
        <p:grpSpPr>
          <a:xfrm>
            <a:off x="2208362" y="3503432"/>
            <a:ext cx="3317307" cy="755195"/>
            <a:chOff x="1952903" y="1458479"/>
            <a:chExt cx="3317307" cy="755195"/>
          </a:xfrm>
        </p:grpSpPr>
        <p:sp>
          <p:nvSpPr>
            <p:cNvPr id="124" name="Google Shape;1428;p39">
              <a:extLst>
                <a:ext uri="{FF2B5EF4-FFF2-40B4-BE49-F238E27FC236}">
                  <a16:creationId xmlns:a16="http://schemas.microsoft.com/office/drawing/2014/main" xmlns="" id="{0E69B85E-E67A-1A47-B6F3-6B8F7F67D2AD}"/>
                </a:ext>
              </a:extLst>
            </p:cNvPr>
            <p:cNvSpPr/>
            <p:nvPr/>
          </p:nvSpPr>
          <p:spPr>
            <a:xfrm>
              <a:off x="2352378" y="1461895"/>
              <a:ext cx="2917832" cy="751481"/>
            </a:xfrm>
            <a:prstGeom prst="rect">
              <a:avLst/>
            </a:prstGeom>
            <a:solidFill>
              <a:srgbClr val="15BF45"/>
            </a:solidFill>
            <a:ln>
              <a:noFill/>
            </a:ln>
          </p:spPr>
          <p:txBody>
            <a:bodyPr spcFirstLastPara="1" wrap="square" lIns="900000" tIns="0" rIns="0" bIns="0" anchor="ctr" anchorCtr="0">
              <a:noAutofit/>
            </a:bodyPr>
            <a:lstStyle/>
            <a:p>
              <a:pPr>
                <a:buClr>
                  <a:srgbClr val="004B54"/>
                </a:buClr>
                <a:buSzPct val="100000"/>
              </a:pPr>
              <a:endParaRPr lang="es-CL" sz="1400" kern="0" dirty="0">
                <a:solidFill>
                  <a:srgbClr val="15C047"/>
                </a:solidFill>
                <a:latin typeface="ACHS Nueva Sans Medium" pitchFamily="2" charset="77"/>
              </a:endParaRPr>
            </a:p>
          </p:txBody>
        </p:sp>
        <p:sp>
          <p:nvSpPr>
            <p:cNvPr id="125" name="Google Shape;1431;p39">
              <a:extLst>
                <a:ext uri="{FF2B5EF4-FFF2-40B4-BE49-F238E27FC236}">
                  <a16:creationId xmlns:a16="http://schemas.microsoft.com/office/drawing/2014/main" xmlns="" id="{FFFCE2FC-9A31-A14A-B53C-9ADF79E1ED7C}"/>
                </a:ext>
              </a:extLst>
            </p:cNvPr>
            <p:cNvSpPr/>
            <p:nvPr/>
          </p:nvSpPr>
          <p:spPr>
            <a:xfrm>
              <a:off x="1952903" y="1458479"/>
              <a:ext cx="755195" cy="755195"/>
            </a:xfrm>
            <a:prstGeom prst="ellipse">
              <a:avLst/>
            </a:prstGeom>
            <a:solidFill>
              <a:srgbClr val="E9EADD"/>
            </a:solidFill>
            <a:ln>
              <a:noFill/>
            </a:ln>
          </p:spPr>
          <p:txBody>
            <a:bodyPr spcFirstLastPara="1" wrap="square" lIns="72000" tIns="72000" rIns="72000" bIns="72000" anchor="t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F3F3F"/>
                </a:buClr>
                <a:buSzPts val="1200"/>
                <a:buFont typeface="Arial"/>
                <a:buNone/>
                <a:tabLst/>
                <a:defRPr/>
              </a:pPr>
              <a:endParaRPr kumimoji="0" sz="1200" b="0" i="0" u="none" strike="noStrike" kern="0" cap="none" spc="0" normalizeH="0" baseline="0" noProof="0" dirty="0">
                <a:ln>
                  <a:noFill/>
                </a:ln>
                <a:solidFill>
                  <a:srgbClr val="616161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26" name="Marcador de texto 31">
            <a:extLst>
              <a:ext uri="{FF2B5EF4-FFF2-40B4-BE49-F238E27FC236}">
                <a16:creationId xmlns:a16="http://schemas.microsoft.com/office/drawing/2014/main" xmlns="" id="{854BF20B-A71E-3246-B452-5850F79A5BC1}"/>
              </a:ext>
            </a:extLst>
          </p:cNvPr>
          <p:cNvSpPr txBox="1">
            <a:spLocks/>
          </p:cNvSpPr>
          <p:nvPr/>
        </p:nvSpPr>
        <p:spPr>
          <a:xfrm>
            <a:off x="3018441" y="3735615"/>
            <a:ext cx="2032633" cy="348033"/>
          </a:xfrm>
          <a:prstGeom prst="rect">
            <a:avLst/>
          </a:prstGeom>
        </p:spPr>
        <p:txBody>
          <a:bodyPr>
            <a:no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r>
              <a:rPr lang="es-CL" sz="1400" b="1" dirty="0">
                <a:solidFill>
                  <a:srgbClr val="FFFFFF"/>
                </a:solidFill>
                <a:latin typeface="ACHS Nueva Sans SemiBold" pitchFamily="2" charset="77"/>
                <a:sym typeface="Helvetica Neue"/>
              </a:rPr>
              <a:t>Protector auditivo</a:t>
            </a:r>
            <a:endParaRPr lang="es-CL" sz="1400" b="1" kern="0" dirty="0">
              <a:solidFill>
                <a:srgbClr val="15C047"/>
              </a:solidFill>
              <a:latin typeface="ACHS Nueva Sans SemiBold" pitchFamily="2" charset="77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xmlns="" id="{A4ACE953-3B18-D14C-8BB2-DAC2EADC006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346623" y="3763737"/>
            <a:ext cx="476492" cy="246461"/>
          </a:xfrm>
          <a:prstGeom prst="rect">
            <a:avLst/>
          </a:prstGeom>
        </p:spPr>
      </p:pic>
      <p:sp>
        <p:nvSpPr>
          <p:cNvPr id="134" name="Marcador de texto 31">
            <a:extLst>
              <a:ext uri="{FF2B5EF4-FFF2-40B4-BE49-F238E27FC236}">
                <a16:creationId xmlns:a16="http://schemas.microsoft.com/office/drawing/2014/main" xmlns="" id="{5F00586D-A125-E844-BD08-63645EA84696}"/>
              </a:ext>
            </a:extLst>
          </p:cNvPr>
          <p:cNvSpPr txBox="1">
            <a:spLocks/>
          </p:cNvSpPr>
          <p:nvPr/>
        </p:nvSpPr>
        <p:spPr>
          <a:xfrm>
            <a:off x="3030917" y="4726215"/>
            <a:ext cx="2032633" cy="348033"/>
          </a:xfrm>
          <a:prstGeom prst="rect">
            <a:avLst/>
          </a:prstGeom>
        </p:spPr>
        <p:txBody>
          <a:bodyPr>
            <a:no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r>
              <a:rPr lang="es-CL" sz="1400" b="1" dirty="0">
                <a:solidFill>
                  <a:srgbClr val="FFFFFF"/>
                </a:solidFill>
                <a:latin typeface="ACHS Nueva Sans SemiBold" pitchFamily="2" charset="77"/>
                <a:sym typeface="Helvetica Neue"/>
              </a:rPr>
              <a:t>Protector solar</a:t>
            </a:r>
            <a:endParaRPr lang="es-CL" sz="1400" b="1" kern="0" dirty="0">
              <a:solidFill>
                <a:srgbClr val="15C047"/>
              </a:solidFill>
              <a:latin typeface="ACHS Nueva Sans SemiBold" pitchFamily="2" charset="77"/>
            </a:endParaRPr>
          </a:p>
        </p:txBody>
      </p:sp>
      <p:sp>
        <p:nvSpPr>
          <p:cNvPr id="138" name="Marcador de texto 31">
            <a:extLst>
              <a:ext uri="{FF2B5EF4-FFF2-40B4-BE49-F238E27FC236}">
                <a16:creationId xmlns:a16="http://schemas.microsoft.com/office/drawing/2014/main" xmlns="" id="{8EF911D4-8234-154B-87A6-56334B58A962}"/>
              </a:ext>
            </a:extLst>
          </p:cNvPr>
          <p:cNvSpPr txBox="1">
            <a:spLocks/>
          </p:cNvSpPr>
          <p:nvPr/>
        </p:nvSpPr>
        <p:spPr>
          <a:xfrm>
            <a:off x="7034777" y="1840956"/>
            <a:ext cx="2032633" cy="348033"/>
          </a:xfrm>
          <a:prstGeom prst="rect">
            <a:avLst/>
          </a:prstGeom>
        </p:spPr>
        <p:txBody>
          <a:bodyPr>
            <a:no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r>
              <a:rPr lang="es-CL" sz="1400" b="1" dirty="0">
                <a:solidFill>
                  <a:srgbClr val="FFFFFF"/>
                </a:solidFill>
                <a:latin typeface="ACHS Nueva Sans SemiBold" pitchFamily="2" charset="77"/>
                <a:sym typeface="Helvetica Neue"/>
              </a:rPr>
              <a:t>Guantes</a:t>
            </a:r>
            <a:endParaRPr lang="es-CL" sz="1400" b="1" kern="0" dirty="0">
              <a:solidFill>
                <a:srgbClr val="15C047"/>
              </a:solidFill>
              <a:latin typeface="ACHS Nueva Sans SemiBold" pitchFamily="2" charset="77"/>
            </a:endParaRPr>
          </a:p>
        </p:txBody>
      </p:sp>
      <p:sp>
        <p:nvSpPr>
          <p:cNvPr id="142" name="Marcador de texto 31">
            <a:extLst>
              <a:ext uri="{FF2B5EF4-FFF2-40B4-BE49-F238E27FC236}">
                <a16:creationId xmlns:a16="http://schemas.microsoft.com/office/drawing/2014/main" xmlns="" id="{52EDFE10-896C-6347-97F4-59A39315D5F5}"/>
              </a:ext>
            </a:extLst>
          </p:cNvPr>
          <p:cNvSpPr txBox="1">
            <a:spLocks/>
          </p:cNvSpPr>
          <p:nvPr/>
        </p:nvSpPr>
        <p:spPr>
          <a:xfrm>
            <a:off x="7044607" y="2793573"/>
            <a:ext cx="2032633" cy="348033"/>
          </a:xfrm>
          <a:prstGeom prst="rect">
            <a:avLst/>
          </a:prstGeom>
        </p:spPr>
        <p:txBody>
          <a:bodyPr>
            <a:no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r>
              <a:rPr lang="es-CL" sz="1400" b="1" dirty="0">
                <a:solidFill>
                  <a:srgbClr val="FFFFFF"/>
                </a:solidFill>
                <a:latin typeface="ACHS Nueva Sans SemiBold" pitchFamily="2" charset="77"/>
                <a:sym typeface="Helvetica Neue"/>
              </a:rPr>
              <a:t>Zapato de seguridad</a:t>
            </a:r>
            <a:endParaRPr lang="es-CL" sz="1400" b="1" kern="0" dirty="0">
              <a:solidFill>
                <a:srgbClr val="15C047"/>
              </a:solidFill>
              <a:latin typeface="ACHS Nueva Sans SemiBold" pitchFamily="2" charset="77"/>
            </a:endParaRPr>
          </a:p>
        </p:txBody>
      </p:sp>
      <p:sp>
        <p:nvSpPr>
          <p:cNvPr id="146" name="Marcador de texto 31">
            <a:extLst>
              <a:ext uri="{FF2B5EF4-FFF2-40B4-BE49-F238E27FC236}">
                <a16:creationId xmlns:a16="http://schemas.microsoft.com/office/drawing/2014/main" xmlns="" id="{901AAD97-4D6A-894C-AA3C-A55EEF2479FA}"/>
              </a:ext>
            </a:extLst>
          </p:cNvPr>
          <p:cNvSpPr txBox="1">
            <a:spLocks/>
          </p:cNvSpPr>
          <p:nvPr/>
        </p:nvSpPr>
        <p:spPr>
          <a:xfrm>
            <a:off x="7034777" y="3739767"/>
            <a:ext cx="2202134" cy="348033"/>
          </a:xfrm>
          <a:prstGeom prst="rect">
            <a:avLst/>
          </a:prstGeom>
        </p:spPr>
        <p:txBody>
          <a:bodyPr>
            <a:no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r>
              <a:rPr lang="es-CL" sz="1400" b="1" dirty="0">
                <a:solidFill>
                  <a:srgbClr val="FFFFFF"/>
                </a:solidFill>
                <a:latin typeface="ACHS Nueva Sans SemiBold" pitchFamily="2" charset="77"/>
                <a:sym typeface="Helvetica Neue"/>
              </a:rPr>
              <a:t>Ropa de alta visibilidad</a:t>
            </a:r>
            <a:endParaRPr lang="es-CL" sz="1400" b="1" kern="0" dirty="0">
              <a:solidFill>
                <a:srgbClr val="15C047"/>
              </a:solidFill>
              <a:latin typeface="ACHS Nueva Sans SemiBold" pitchFamily="2" charset="77"/>
            </a:endParaRPr>
          </a:p>
        </p:txBody>
      </p:sp>
      <p:sp>
        <p:nvSpPr>
          <p:cNvPr id="150" name="Marcador de texto 31">
            <a:extLst>
              <a:ext uri="{FF2B5EF4-FFF2-40B4-BE49-F238E27FC236}">
                <a16:creationId xmlns:a16="http://schemas.microsoft.com/office/drawing/2014/main" xmlns="" id="{615FC10E-217C-A446-9476-8411909C58CB}"/>
              </a:ext>
            </a:extLst>
          </p:cNvPr>
          <p:cNvSpPr txBox="1">
            <a:spLocks/>
          </p:cNvSpPr>
          <p:nvPr/>
        </p:nvSpPr>
        <p:spPr>
          <a:xfrm>
            <a:off x="7056617" y="4722229"/>
            <a:ext cx="2202134" cy="348033"/>
          </a:xfrm>
          <a:prstGeom prst="rect">
            <a:avLst/>
          </a:prstGeom>
        </p:spPr>
        <p:txBody>
          <a:bodyPr>
            <a:no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r>
              <a:rPr lang="es-CL" sz="1400" b="1" dirty="0">
                <a:solidFill>
                  <a:srgbClr val="FFFFFF"/>
                </a:solidFill>
                <a:latin typeface="ACHS Nueva Sans SemiBold" pitchFamily="2" charset="77"/>
                <a:sym typeface="Helvetica Neue"/>
              </a:rPr>
              <a:t>Arnés de seguridad</a:t>
            </a:r>
          </a:p>
          <a:p>
            <a:pPr marL="0" indent="0"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endParaRPr lang="es-CL" sz="1400" b="1" kern="0" dirty="0">
              <a:solidFill>
                <a:srgbClr val="15C047"/>
              </a:solidFill>
              <a:latin typeface="ACHS Nueva Sans SemiBold" pitchFamily="2" charset="77"/>
            </a:endParaRPr>
          </a:p>
        </p:txBody>
      </p:sp>
      <p:pic>
        <p:nvPicPr>
          <p:cNvPr id="151" name="Imagen 5">
            <a:extLst>
              <a:ext uri="{FF2B5EF4-FFF2-40B4-BE49-F238E27FC236}">
                <a16:creationId xmlns:a16="http://schemas.microsoft.com/office/drawing/2014/main" xmlns="" id="{EE62229D-73A6-CB44-955F-2213B202A9D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56681" y="497023"/>
            <a:ext cx="1239794" cy="506480"/>
          </a:xfrm>
          <a:prstGeom prst="rect">
            <a:avLst/>
          </a:prstGeom>
        </p:spPr>
      </p:pic>
      <p:cxnSp>
        <p:nvCxnSpPr>
          <p:cNvPr id="152" name="Conector recto 6">
            <a:extLst>
              <a:ext uri="{FF2B5EF4-FFF2-40B4-BE49-F238E27FC236}">
                <a16:creationId xmlns:a16="http://schemas.microsoft.com/office/drawing/2014/main" xmlns="" id="{F86E99D7-C19C-A94A-9C86-4F6528F66FF7}"/>
              </a:ext>
            </a:extLst>
          </p:cNvPr>
          <p:cNvCxnSpPr/>
          <p:nvPr/>
        </p:nvCxnSpPr>
        <p:spPr>
          <a:xfrm>
            <a:off x="511867" y="363806"/>
            <a:ext cx="1629316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custDataLst>
      <p:tags r:id="rId2"/>
    </p:custDataLst>
    <p:extLst>
      <p:ext uri="{BB962C8B-B14F-4D97-AF65-F5344CB8AC3E}">
        <p14:creationId xmlns:p14="http://schemas.microsoft.com/office/powerpoint/2010/main" val="55807141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388453752"/>
              </p:ext>
            </p:extLst>
          </p:nvPr>
        </p:nvGraphicFramePr>
        <p:xfrm>
          <a:off x="2004" y="1210"/>
          <a:ext cx="1210" cy="12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455" name="Diapositiva de think-cell" r:id="rId6" imgW="415" imgH="416" progId="TCLayout.ActiveDocument.1">
                  <p:embed/>
                </p:oleObj>
              </mc:Choice>
              <mc:Fallback>
                <p:oleObj name="Diapositiva de think-cell" r:id="rId6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004" y="1210"/>
                        <a:ext cx="1210" cy="121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Título 30">
            <a:extLst>
              <a:ext uri="{FF2B5EF4-FFF2-40B4-BE49-F238E27FC236}">
                <a16:creationId xmlns:a16="http://schemas.microsoft.com/office/drawing/2014/main" xmlns="" id="{80832A9A-ADDB-E845-8443-9D1670CD83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550" y="555274"/>
            <a:ext cx="4391330" cy="464608"/>
          </a:xfrm>
        </p:spPr>
        <p:txBody>
          <a:bodyPr vert="horz">
            <a:normAutofit/>
          </a:bodyPr>
          <a:lstStyle/>
          <a:p>
            <a:pPr>
              <a:lnSpc>
                <a:spcPct val="100000"/>
              </a:lnSpc>
            </a:pPr>
            <a:r>
              <a:rPr lang="es-CL" sz="2000" dirty="0">
                <a:solidFill>
                  <a:srgbClr val="15BF45"/>
                </a:solidFill>
                <a:latin typeface="ACHS Nueva Serif" pitchFamily="2" charset="77"/>
              </a:rPr>
              <a:t>Sistema de protección de caídas</a:t>
            </a:r>
          </a:p>
        </p:txBody>
      </p:sp>
      <p:sp>
        <p:nvSpPr>
          <p:cNvPr id="8" name="Marcador de texto 31">
            <a:extLst>
              <a:ext uri="{FF2B5EF4-FFF2-40B4-BE49-F238E27FC236}">
                <a16:creationId xmlns:a16="http://schemas.microsoft.com/office/drawing/2014/main" xmlns="" id="{713A938D-3078-6E43-828A-C73193F4C807}"/>
              </a:ext>
            </a:extLst>
          </p:cNvPr>
          <p:cNvSpPr txBox="1">
            <a:spLocks/>
          </p:cNvSpPr>
          <p:nvPr/>
        </p:nvSpPr>
        <p:spPr>
          <a:xfrm>
            <a:off x="568550" y="1468228"/>
            <a:ext cx="3433449" cy="7073340"/>
          </a:xfrm>
          <a:prstGeom prst="rect">
            <a:avLst/>
          </a:prstGeom>
        </p:spPr>
        <p:txBody>
          <a:bodyPr>
            <a:norm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lnSpc>
                <a:spcPct val="110000"/>
              </a:lnSpc>
              <a:spcBef>
                <a:spcPts val="200"/>
              </a:spcBef>
              <a:buClr>
                <a:srgbClr val="15C047"/>
              </a:buClr>
              <a:buNone/>
              <a:defRPr/>
            </a:pPr>
            <a:r>
              <a:rPr lang="es-CL" sz="1500" dirty="0">
                <a:latin typeface="ACHS Nueva Sans Medium" pitchFamily="2" charset="77"/>
              </a:rPr>
              <a:t>Para realizar cualquier tipo de trabajo en altura en nuestro país, existe una normativa que establece los aspectos técnicos específicos para el uso del arnés de seguridad y sus accesorios,  también llamados “Sistemas Personales para Detención de Caídas” (SPDC). </a:t>
            </a:r>
          </a:p>
          <a:p>
            <a:pPr>
              <a:lnSpc>
                <a:spcPct val="110000"/>
              </a:lnSpc>
              <a:spcBef>
                <a:spcPts val="200"/>
              </a:spcBef>
              <a:buClr>
                <a:srgbClr val="15C047"/>
              </a:buClr>
              <a:buFont typeface="Arial" panose="020B0604020202020204" pitchFamily="34" charset="0"/>
              <a:buChar char="•"/>
              <a:defRPr/>
            </a:pPr>
            <a:endParaRPr lang="es-CL" sz="1500" dirty="0">
              <a:latin typeface="ACHS Nueva Sans Medium" pitchFamily="2" charset="77"/>
            </a:endParaRPr>
          </a:p>
          <a:p>
            <a:pPr marL="0" indent="0">
              <a:lnSpc>
                <a:spcPct val="110000"/>
              </a:lnSpc>
              <a:spcBef>
                <a:spcPts val="200"/>
              </a:spcBef>
              <a:buClr>
                <a:srgbClr val="15C047"/>
              </a:buClr>
              <a:buNone/>
              <a:defRPr/>
            </a:pPr>
            <a:r>
              <a:rPr lang="es-CL" sz="1500" b="1" dirty="0">
                <a:solidFill>
                  <a:srgbClr val="15BF45"/>
                </a:solidFill>
                <a:latin typeface="ACHS Nueva Sans SemiBold" pitchFamily="2" charset="77"/>
              </a:rPr>
              <a:t>Los principales aspectos a que se refiere esta normativa son:</a:t>
            </a:r>
          </a:p>
          <a:p>
            <a:pPr>
              <a:lnSpc>
                <a:spcPct val="110000"/>
              </a:lnSpc>
              <a:spcBef>
                <a:spcPts val="200"/>
              </a:spcBef>
              <a:buClr>
                <a:srgbClr val="15C047"/>
              </a:buClr>
              <a:buFont typeface="Arial" panose="020B0604020202020204" pitchFamily="34" charset="0"/>
              <a:buChar char="•"/>
              <a:defRPr/>
            </a:pPr>
            <a:endParaRPr lang="es-CL" sz="1500" dirty="0">
              <a:latin typeface="ACHS Nueva Sans Medium" pitchFamily="2" charset="77"/>
            </a:endParaRPr>
          </a:p>
          <a:p>
            <a:pPr marL="399600" lvl="1" indent="-399600">
              <a:lnSpc>
                <a:spcPct val="110000"/>
              </a:lnSpc>
              <a:spcBef>
                <a:spcPts val="200"/>
              </a:spcBef>
              <a:buClr>
                <a:srgbClr val="15C047"/>
              </a:buClr>
              <a:buFont typeface="Arial" panose="020B0604020202020204" pitchFamily="34" charset="0"/>
              <a:buChar char="•"/>
              <a:defRPr/>
            </a:pPr>
            <a:r>
              <a:rPr lang="es-CL" sz="1500" dirty="0">
                <a:latin typeface="ACHS Nueva Sans Medium" pitchFamily="2" charset="77"/>
              </a:rPr>
              <a:t>La selección adecuada de los Sistemas Personales de Detención de Caídas.</a:t>
            </a:r>
          </a:p>
          <a:p>
            <a:pPr marL="399600" lvl="1" indent="-399600">
              <a:lnSpc>
                <a:spcPct val="110000"/>
              </a:lnSpc>
              <a:spcBef>
                <a:spcPts val="200"/>
              </a:spcBef>
              <a:buClr>
                <a:srgbClr val="15C047"/>
              </a:buClr>
              <a:buFont typeface="Arial" panose="020B0604020202020204" pitchFamily="34" charset="0"/>
              <a:buChar char="•"/>
              <a:defRPr/>
            </a:pPr>
            <a:r>
              <a:rPr lang="es-CL" sz="1500" dirty="0">
                <a:latin typeface="ACHS Nueva Sans Medium" pitchFamily="2" charset="77"/>
              </a:rPr>
              <a:t>Recomendaciones para el control de los Dispositivos de Detención de Caídas.</a:t>
            </a:r>
          </a:p>
          <a:p>
            <a:pPr marL="0" indent="0">
              <a:lnSpc>
                <a:spcPct val="110000"/>
              </a:lnSpc>
              <a:spcBef>
                <a:spcPts val="200"/>
              </a:spcBef>
              <a:buClr>
                <a:srgbClr val="15C047"/>
              </a:buClr>
              <a:buNone/>
              <a:defRPr/>
            </a:pPr>
            <a:endParaRPr lang="es-CL" altLang="es-CL" sz="1500" dirty="0">
              <a:latin typeface="ACHS Nueva Sans Medium" pitchFamily="2" charset="77"/>
            </a:endParaRPr>
          </a:p>
          <a:p>
            <a:pPr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Font typeface="Arial" panose="020B0604020202020204" pitchFamily="34" charset="0"/>
              <a:buChar char="•"/>
              <a:defRPr/>
            </a:pPr>
            <a:endParaRPr lang="es-CL" altLang="es-CL" sz="1500" dirty="0"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None/>
              <a:defRPr/>
            </a:pPr>
            <a:endParaRPr lang="es-CL" altLang="es-CL" sz="1500" dirty="0"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None/>
            </a:pPr>
            <a:endParaRPr lang="es-CL" altLang="es-CL" sz="1500" dirty="0">
              <a:latin typeface="ACHS Nueva Sans Medium" pitchFamily="2" charset="77"/>
            </a:endParaRPr>
          </a:p>
          <a:p>
            <a:pPr algn="just">
              <a:lnSpc>
                <a:spcPct val="100000"/>
              </a:lnSpc>
              <a:spcBef>
                <a:spcPts val="914"/>
              </a:spcBef>
              <a:buClr>
                <a:srgbClr val="83B827"/>
              </a:buClr>
              <a:buSzPct val="100000"/>
              <a:buFont typeface="Arial" panose="020B0604020202020204" pitchFamily="34" charset="0"/>
              <a:buChar char="•"/>
            </a:pPr>
            <a:endParaRPr lang="es-CL" altLang="es-CL" sz="1500" kern="0" dirty="0">
              <a:solidFill>
                <a:srgbClr val="8A8A8A">
                  <a:lumMod val="75000"/>
                </a:srgbClr>
              </a:solidFill>
            </a:endParaRPr>
          </a:p>
        </p:txBody>
      </p:sp>
      <p:pic>
        <p:nvPicPr>
          <p:cNvPr id="9" name="Imagen 5">
            <a:extLst>
              <a:ext uri="{FF2B5EF4-FFF2-40B4-BE49-F238E27FC236}">
                <a16:creationId xmlns:a16="http://schemas.microsoft.com/office/drawing/2014/main" xmlns="" id="{4A67C8D5-ABD2-5342-A111-F1FFCE57320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56681" y="497023"/>
            <a:ext cx="1239794" cy="506480"/>
          </a:xfrm>
          <a:prstGeom prst="rect">
            <a:avLst/>
          </a:prstGeom>
        </p:spPr>
      </p:pic>
      <p:cxnSp>
        <p:nvCxnSpPr>
          <p:cNvPr id="10" name="Conector recto 6">
            <a:extLst>
              <a:ext uri="{FF2B5EF4-FFF2-40B4-BE49-F238E27FC236}">
                <a16:creationId xmlns:a16="http://schemas.microsoft.com/office/drawing/2014/main" xmlns="" id="{190AFC96-2EA9-2F4F-8C77-5E3F76F38780}"/>
              </a:ext>
            </a:extLst>
          </p:cNvPr>
          <p:cNvCxnSpPr/>
          <p:nvPr/>
        </p:nvCxnSpPr>
        <p:spPr>
          <a:xfrm>
            <a:off x="511867" y="363806"/>
            <a:ext cx="1629316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pic>
        <p:nvPicPr>
          <p:cNvPr id="13" name="object 2">
            <a:extLst>
              <a:ext uri="{FF2B5EF4-FFF2-40B4-BE49-F238E27FC236}">
                <a16:creationId xmlns:a16="http://schemas.microsoft.com/office/drawing/2014/main" xmlns="" id="{B627F7D4-380E-C4E3-521C-0C5510788031}"/>
              </a:ext>
            </a:extLst>
          </p:cNvPr>
          <p:cNvPicPr/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83113" y="1216839"/>
            <a:ext cx="7608887" cy="5641161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2739386690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370170357"/>
              </p:ext>
            </p:extLst>
          </p:nvPr>
        </p:nvGraphicFramePr>
        <p:xfrm>
          <a:off x="2004" y="1210"/>
          <a:ext cx="1210" cy="12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0171" name="Diapositiva de think-cell" r:id="rId6" imgW="415" imgH="416" progId="TCLayout.ActiveDocument.1">
                  <p:embed/>
                </p:oleObj>
              </mc:Choice>
              <mc:Fallback>
                <p:oleObj name="Diapositiva de think-cell" r:id="rId6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004" y="1210"/>
                        <a:ext cx="1210" cy="121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ítulo 30">
            <a:extLst>
              <a:ext uri="{FF2B5EF4-FFF2-40B4-BE49-F238E27FC236}">
                <a16:creationId xmlns:a16="http://schemas.microsoft.com/office/drawing/2014/main" xmlns="" id="{41467B50-9FAA-934A-916A-FD7B14B0B6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550" y="555274"/>
            <a:ext cx="4391330" cy="464608"/>
          </a:xfrm>
        </p:spPr>
        <p:txBody>
          <a:bodyPr vert="horz">
            <a:normAutofit/>
          </a:bodyPr>
          <a:lstStyle/>
          <a:p>
            <a:pPr>
              <a:lnSpc>
                <a:spcPct val="100000"/>
              </a:lnSpc>
            </a:pPr>
            <a:r>
              <a:rPr lang="es-CL" sz="2000" dirty="0">
                <a:solidFill>
                  <a:srgbClr val="00B050"/>
                </a:solidFill>
                <a:latin typeface="ACHS Nueva Serif" pitchFamily="2" charset="77"/>
              </a:rPr>
              <a:t>Sistema de protección de caídas</a:t>
            </a:r>
          </a:p>
        </p:txBody>
      </p:sp>
      <p:sp>
        <p:nvSpPr>
          <p:cNvPr id="14" name="Marcador de texto 31">
            <a:extLst>
              <a:ext uri="{FF2B5EF4-FFF2-40B4-BE49-F238E27FC236}">
                <a16:creationId xmlns:a16="http://schemas.microsoft.com/office/drawing/2014/main" xmlns="" id="{D2FB3049-11D5-A649-B7A9-628BAD33952D}"/>
              </a:ext>
            </a:extLst>
          </p:cNvPr>
          <p:cNvSpPr txBox="1">
            <a:spLocks/>
          </p:cNvSpPr>
          <p:nvPr/>
        </p:nvSpPr>
        <p:spPr>
          <a:xfrm>
            <a:off x="568550" y="1468228"/>
            <a:ext cx="3433449" cy="7073340"/>
          </a:xfrm>
          <a:prstGeom prst="rect">
            <a:avLst/>
          </a:prstGeom>
        </p:spPr>
        <p:txBody>
          <a:bodyPr>
            <a:norm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lnSpc>
                <a:spcPct val="110000"/>
              </a:lnSpc>
              <a:spcBef>
                <a:spcPts val="200"/>
              </a:spcBef>
              <a:buClr>
                <a:srgbClr val="15C047"/>
              </a:buClr>
              <a:buNone/>
              <a:defRPr/>
            </a:pPr>
            <a:r>
              <a:rPr lang="es-CL" sz="1700" kern="0" dirty="0">
                <a:solidFill>
                  <a:srgbClr val="00B050"/>
                </a:solidFill>
                <a:latin typeface="ACHS Nueva Serif" pitchFamily="2" charset="77"/>
              </a:rPr>
              <a:t>¿Para qué se utiliza un Sistema Personal para Detención de Caídas (SPDC)?</a:t>
            </a:r>
            <a:endParaRPr lang="es-CL" sz="1700" dirty="0">
              <a:solidFill>
                <a:srgbClr val="00B050"/>
              </a:solidFill>
              <a:latin typeface="ACHS Nueva Sans Medium" pitchFamily="2" charset="77"/>
            </a:endParaRPr>
          </a:p>
          <a:p>
            <a:pPr marL="0" indent="0">
              <a:lnSpc>
                <a:spcPct val="110000"/>
              </a:lnSpc>
              <a:spcBef>
                <a:spcPts val="200"/>
              </a:spcBef>
              <a:buClr>
                <a:srgbClr val="15C047"/>
              </a:buClr>
              <a:buNone/>
              <a:defRPr/>
            </a:pPr>
            <a:r>
              <a:rPr lang="es-CL" sz="1500" dirty="0">
                <a:latin typeface="ACHS Nueva Sans Medium" pitchFamily="2" charset="77"/>
              </a:rPr>
              <a:t>Un Sistema Personal para Detención de Caídas (SPDC) tiene por objetivo reducir el riesgo de lesiones al trabajador que cae.</a:t>
            </a:r>
          </a:p>
          <a:p>
            <a:pPr marL="0" indent="0">
              <a:lnSpc>
                <a:spcPct val="110000"/>
              </a:lnSpc>
              <a:spcBef>
                <a:spcPts val="200"/>
              </a:spcBef>
              <a:buClr>
                <a:srgbClr val="15C047"/>
              </a:buClr>
              <a:buNone/>
              <a:defRPr/>
            </a:pPr>
            <a:endParaRPr lang="es-CL" sz="1500" dirty="0">
              <a:latin typeface="ACHS Nueva Sans Medium" pitchFamily="2" charset="77"/>
            </a:endParaRPr>
          </a:p>
          <a:p>
            <a:pPr marL="0" indent="0">
              <a:lnSpc>
                <a:spcPct val="110000"/>
              </a:lnSpc>
              <a:spcBef>
                <a:spcPts val="200"/>
              </a:spcBef>
              <a:buClr>
                <a:srgbClr val="15C047"/>
              </a:buClr>
              <a:buNone/>
              <a:defRPr/>
            </a:pPr>
            <a:r>
              <a:rPr lang="es-CL" sz="1500" dirty="0">
                <a:latin typeface="ACHS Nueva Sans Medium" pitchFamily="2" charset="77"/>
              </a:rPr>
              <a:t>Deben ser de fácil colocación y ajuste y, por supuesto, deben mantenerse en su posición durante el trabajo teniendo en cuenta factores ambientales, movimientos, posturas de trabajo, etc. </a:t>
            </a:r>
          </a:p>
          <a:p>
            <a:pPr marL="0" indent="0">
              <a:lnSpc>
                <a:spcPct val="110000"/>
              </a:lnSpc>
              <a:spcBef>
                <a:spcPts val="200"/>
              </a:spcBef>
              <a:buClr>
                <a:srgbClr val="15C047"/>
              </a:buClr>
              <a:buNone/>
              <a:defRPr/>
            </a:pPr>
            <a:endParaRPr lang="es-CL" sz="1500" dirty="0">
              <a:latin typeface="ACHS Nueva Sans Medium" pitchFamily="2" charset="77"/>
            </a:endParaRPr>
          </a:p>
          <a:p>
            <a:pPr marL="0" indent="0">
              <a:lnSpc>
                <a:spcPct val="110000"/>
              </a:lnSpc>
              <a:spcBef>
                <a:spcPts val="200"/>
              </a:spcBef>
              <a:buClr>
                <a:srgbClr val="15C047"/>
              </a:buClr>
              <a:buNone/>
              <a:defRPr/>
            </a:pPr>
            <a:r>
              <a:rPr lang="es-CL" sz="1500" b="1" dirty="0">
                <a:solidFill>
                  <a:srgbClr val="00B050"/>
                </a:solidFill>
                <a:latin typeface="ACHS Nueva Sans SemiBold" pitchFamily="2" charset="77"/>
              </a:rPr>
              <a:t>La carga máxima permitida para el uso de estos elementos es de              100 kilogramos.</a:t>
            </a:r>
          </a:p>
          <a:p>
            <a:pPr marL="0" indent="0">
              <a:lnSpc>
                <a:spcPct val="110000"/>
              </a:lnSpc>
              <a:spcBef>
                <a:spcPts val="200"/>
              </a:spcBef>
              <a:buClr>
                <a:srgbClr val="15C047"/>
              </a:buClr>
              <a:buNone/>
              <a:defRPr/>
            </a:pPr>
            <a:endParaRPr lang="es-CL" altLang="es-CL" sz="1500" dirty="0">
              <a:latin typeface="ACHS Nueva Sans Medium" pitchFamily="2" charset="77"/>
            </a:endParaRPr>
          </a:p>
          <a:p>
            <a:pPr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Font typeface="Arial" panose="020B0604020202020204" pitchFamily="34" charset="0"/>
              <a:buChar char="•"/>
              <a:defRPr/>
            </a:pPr>
            <a:endParaRPr lang="es-CL" altLang="es-CL" sz="1500" dirty="0"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None/>
              <a:defRPr/>
            </a:pPr>
            <a:endParaRPr lang="es-CL" altLang="es-CL" sz="1500" dirty="0"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None/>
            </a:pPr>
            <a:endParaRPr lang="es-CL" altLang="es-CL" sz="1500" dirty="0">
              <a:latin typeface="ACHS Nueva Sans Medium" pitchFamily="2" charset="77"/>
            </a:endParaRPr>
          </a:p>
          <a:p>
            <a:pPr algn="just">
              <a:lnSpc>
                <a:spcPct val="100000"/>
              </a:lnSpc>
              <a:spcBef>
                <a:spcPts val="914"/>
              </a:spcBef>
              <a:buClr>
                <a:srgbClr val="83B827"/>
              </a:buClr>
              <a:buSzPct val="100000"/>
              <a:buFont typeface="Arial" panose="020B0604020202020204" pitchFamily="34" charset="0"/>
              <a:buChar char="•"/>
            </a:pPr>
            <a:endParaRPr lang="es-CL" altLang="es-CL" sz="1500" kern="0" dirty="0">
              <a:solidFill>
                <a:srgbClr val="8A8A8A">
                  <a:lumMod val="75000"/>
                </a:srgbClr>
              </a:solidFill>
            </a:endParaRPr>
          </a:p>
        </p:txBody>
      </p:sp>
      <p:pic>
        <p:nvPicPr>
          <p:cNvPr id="16" name="Imagen 5">
            <a:extLst>
              <a:ext uri="{FF2B5EF4-FFF2-40B4-BE49-F238E27FC236}">
                <a16:creationId xmlns:a16="http://schemas.microsoft.com/office/drawing/2014/main" xmlns="" id="{EB212B1B-DAEF-DF4B-96F8-BD57A5F5D89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56681" y="497023"/>
            <a:ext cx="1239794" cy="506480"/>
          </a:xfrm>
          <a:prstGeom prst="rect">
            <a:avLst/>
          </a:prstGeom>
        </p:spPr>
      </p:pic>
      <p:cxnSp>
        <p:nvCxnSpPr>
          <p:cNvPr id="17" name="Conector recto 6">
            <a:extLst>
              <a:ext uri="{FF2B5EF4-FFF2-40B4-BE49-F238E27FC236}">
                <a16:creationId xmlns:a16="http://schemas.microsoft.com/office/drawing/2014/main" xmlns="" id="{DFAAC76D-D55B-D94B-8B61-056D26CD03A0}"/>
              </a:ext>
            </a:extLst>
          </p:cNvPr>
          <p:cNvCxnSpPr/>
          <p:nvPr/>
        </p:nvCxnSpPr>
        <p:spPr>
          <a:xfrm>
            <a:off x="511867" y="363806"/>
            <a:ext cx="1629316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pic>
        <p:nvPicPr>
          <p:cNvPr id="9" name="object 2">
            <a:extLst>
              <a:ext uri="{FF2B5EF4-FFF2-40B4-BE49-F238E27FC236}">
                <a16:creationId xmlns:a16="http://schemas.microsoft.com/office/drawing/2014/main" xmlns="" id="{B627F7D4-380E-C4E3-521C-0C5510788031}"/>
              </a:ext>
            </a:extLst>
          </p:cNvPr>
          <p:cNvPicPr/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83113" y="1216839"/>
            <a:ext cx="7608887" cy="5641161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2042018682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354247152"/>
              </p:ext>
            </p:extLst>
          </p:nvPr>
        </p:nvGraphicFramePr>
        <p:xfrm>
          <a:off x="2004" y="1210"/>
          <a:ext cx="1210" cy="12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94" name="Diapositiva de think-cell" r:id="rId6" imgW="415" imgH="416" progId="TCLayout.ActiveDocument.1">
                  <p:embed/>
                </p:oleObj>
              </mc:Choice>
              <mc:Fallback>
                <p:oleObj name="Diapositiva de think-cell" r:id="rId6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004" y="1210"/>
                        <a:ext cx="1210" cy="121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ítulo 30">
            <a:extLst>
              <a:ext uri="{FF2B5EF4-FFF2-40B4-BE49-F238E27FC236}">
                <a16:creationId xmlns:a16="http://schemas.microsoft.com/office/drawing/2014/main" xmlns="" id="{FD429B0E-BED1-2C40-9557-2AD2D6CB6E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550" y="555274"/>
            <a:ext cx="4391330" cy="464608"/>
          </a:xfrm>
        </p:spPr>
        <p:txBody>
          <a:bodyPr vert="horz">
            <a:normAutofit/>
          </a:bodyPr>
          <a:lstStyle/>
          <a:p>
            <a:pPr>
              <a:lnSpc>
                <a:spcPct val="100000"/>
              </a:lnSpc>
            </a:pPr>
            <a:r>
              <a:rPr lang="es-CL" sz="2000" dirty="0">
                <a:solidFill>
                  <a:srgbClr val="15BF45"/>
                </a:solidFill>
                <a:latin typeface="ACHS Nueva Serif" pitchFamily="2" charset="77"/>
              </a:rPr>
              <a:t>Sistema de protección de caídas</a:t>
            </a:r>
          </a:p>
        </p:txBody>
      </p:sp>
      <p:sp>
        <p:nvSpPr>
          <p:cNvPr id="13" name="Marcador de texto 31">
            <a:extLst>
              <a:ext uri="{FF2B5EF4-FFF2-40B4-BE49-F238E27FC236}">
                <a16:creationId xmlns:a16="http://schemas.microsoft.com/office/drawing/2014/main" xmlns="" id="{1B9FBAFC-98B5-764A-BD35-7E2CE7631C20}"/>
              </a:ext>
            </a:extLst>
          </p:cNvPr>
          <p:cNvSpPr txBox="1">
            <a:spLocks/>
          </p:cNvSpPr>
          <p:nvPr/>
        </p:nvSpPr>
        <p:spPr>
          <a:xfrm>
            <a:off x="568551" y="1468228"/>
            <a:ext cx="3295996" cy="7073340"/>
          </a:xfrm>
          <a:prstGeom prst="rect">
            <a:avLst/>
          </a:prstGeom>
        </p:spPr>
        <p:txBody>
          <a:bodyPr>
            <a:norm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lnSpc>
                <a:spcPct val="110000"/>
              </a:lnSpc>
              <a:spcBef>
                <a:spcPts val="200"/>
              </a:spcBef>
              <a:buClr>
                <a:srgbClr val="15C047"/>
              </a:buClr>
              <a:buNone/>
              <a:defRPr/>
            </a:pPr>
            <a:r>
              <a:rPr lang="es-CL" sz="1800" kern="0" dirty="0">
                <a:solidFill>
                  <a:srgbClr val="15BF45"/>
                </a:solidFill>
                <a:latin typeface="ACHS Nueva Serif" pitchFamily="2" charset="77"/>
              </a:rPr>
              <a:t>Características comunes de        los arneses:</a:t>
            </a:r>
          </a:p>
          <a:p>
            <a:pPr marL="0" indent="0">
              <a:lnSpc>
                <a:spcPct val="110000"/>
              </a:lnSpc>
              <a:spcBef>
                <a:spcPts val="100"/>
              </a:spcBef>
              <a:buClr>
                <a:srgbClr val="15C047"/>
              </a:buClr>
              <a:buNone/>
              <a:defRPr/>
            </a:pPr>
            <a:endParaRPr lang="es-CL" sz="1800" kern="0" dirty="0">
              <a:solidFill>
                <a:srgbClr val="00B050"/>
              </a:solidFill>
              <a:latin typeface="ACHS Nueva Serif" pitchFamily="2" charset="77"/>
            </a:endParaRPr>
          </a:p>
          <a:p>
            <a:pPr marL="0" indent="0">
              <a:lnSpc>
                <a:spcPct val="110000"/>
              </a:lnSpc>
              <a:spcBef>
                <a:spcPts val="100"/>
              </a:spcBef>
              <a:buClr>
                <a:srgbClr val="15C047"/>
              </a:buClr>
              <a:buNone/>
              <a:defRPr/>
            </a:pPr>
            <a:r>
              <a:rPr lang="es-CL" sz="1500" dirty="0">
                <a:latin typeface="ACHS Nueva Sans Medium" pitchFamily="2" charset="77"/>
              </a:rPr>
              <a:t>Deben tener características comunes a cumplir respecto a los materiales, diseño y construcción:</a:t>
            </a:r>
          </a:p>
          <a:p>
            <a:pPr>
              <a:lnSpc>
                <a:spcPct val="110000"/>
              </a:lnSpc>
              <a:spcBef>
                <a:spcPts val="100"/>
              </a:spcBef>
              <a:buClr>
                <a:srgbClr val="15C047"/>
              </a:buClr>
              <a:buFont typeface="Arial" panose="020B0604020202020204" pitchFamily="34" charset="0"/>
              <a:buChar char="•"/>
              <a:defRPr/>
            </a:pPr>
            <a:r>
              <a:rPr lang="es-CL" sz="1500" dirty="0">
                <a:latin typeface="ACHS Nueva Sans Medium" pitchFamily="2" charset="77"/>
              </a:rPr>
              <a:t>El diseño debe permitir su utilización sin molestias injustificables. Las hebillas para el ajuste y cierre deben permanecer accesibles para el usuario y funcionar de manera eficaz. </a:t>
            </a:r>
          </a:p>
          <a:p>
            <a:pPr>
              <a:lnSpc>
                <a:spcPct val="110000"/>
              </a:lnSpc>
              <a:spcBef>
                <a:spcPts val="100"/>
              </a:spcBef>
              <a:buClr>
                <a:srgbClr val="15C047"/>
              </a:buClr>
              <a:buFont typeface="Arial" panose="020B0604020202020204" pitchFamily="34" charset="0"/>
              <a:buChar char="•"/>
              <a:defRPr/>
            </a:pPr>
            <a:endParaRPr lang="es-CL" sz="1500" dirty="0">
              <a:latin typeface="ACHS Nueva Sans Medium" pitchFamily="2" charset="77"/>
            </a:endParaRPr>
          </a:p>
          <a:p>
            <a:pPr>
              <a:lnSpc>
                <a:spcPct val="110000"/>
              </a:lnSpc>
              <a:spcBef>
                <a:spcPts val="100"/>
              </a:spcBef>
              <a:buClr>
                <a:srgbClr val="15C047"/>
              </a:buClr>
              <a:buFont typeface="Arial" panose="020B0604020202020204" pitchFamily="34" charset="0"/>
              <a:buChar char="•"/>
              <a:defRPr/>
            </a:pPr>
            <a:r>
              <a:rPr lang="es-CL" sz="1500" dirty="0">
                <a:latin typeface="ACHS Nueva Sans Medium" pitchFamily="2" charset="77"/>
              </a:rPr>
              <a:t>Cuando se accionen y, una vez ajustados correctamente, no debe ser posible que se abran o aflojen de manera fortuita. </a:t>
            </a:r>
          </a:p>
          <a:p>
            <a:pPr marL="0" indent="0">
              <a:lnSpc>
                <a:spcPct val="110000"/>
              </a:lnSpc>
              <a:spcBef>
                <a:spcPts val="200"/>
              </a:spcBef>
              <a:buClr>
                <a:srgbClr val="15C047"/>
              </a:buClr>
              <a:buNone/>
              <a:defRPr/>
            </a:pPr>
            <a:endParaRPr lang="es-CL" altLang="es-CL" sz="1500" dirty="0">
              <a:latin typeface="ACHS Nueva Sans Medium" pitchFamily="2" charset="77"/>
            </a:endParaRPr>
          </a:p>
          <a:p>
            <a:pPr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Font typeface="Arial" panose="020B0604020202020204" pitchFamily="34" charset="0"/>
              <a:buChar char="•"/>
              <a:defRPr/>
            </a:pPr>
            <a:endParaRPr lang="es-CL" altLang="es-CL" sz="1500" dirty="0"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None/>
              <a:defRPr/>
            </a:pPr>
            <a:endParaRPr lang="es-CL" altLang="es-CL" sz="1500" dirty="0"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None/>
            </a:pPr>
            <a:endParaRPr lang="es-CL" altLang="es-CL" sz="1500" dirty="0">
              <a:latin typeface="ACHS Nueva Sans Medium" pitchFamily="2" charset="77"/>
            </a:endParaRPr>
          </a:p>
          <a:p>
            <a:pPr algn="just">
              <a:lnSpc>
                <a:spcPct val="100000"/>
              </a:lnSpc>
              <a:spcBef>
                <a:spcPts val="914"/>
              </a:spcBef>
              <a:buClr>
                <a:srgbClr val="83B827"/>
              </a:buClr>
              <a:buSzPct val="100000"/>
              <a:buFont typeface="Arial" panose="020B0604020202020204" pitchFamily="34" charset="0"/>
              <a:buChar char="•"/>
            </a:pPr>
            <a:endParaRPr lang="es-CL" altLang="es-CL" sz="1500" kern="0" dirty="0">
              <a:solidFill>
                <a:srgbClr val="8A8A8A">
                  <a:lumMod val="75000"/>
                </a:srgbClr>
              </a:solidFill>
            </a:endParaRPr>
          </a:p>
        </p:txBody>
      </p:sp>
      <p:pic>
        <p:nvPicPr>
          <p:cNvPr id="14" name="Imagen 5">
            <a:extLst>
              <a:ext uri="{FF2B5EF4-FFF2-40B4-BE49-F238E27FC236}">
                <a16:creationId xmlns:a16="http://schemas.microsoft.com/office/drawing/2014/main" xmlns="" id="{CAAB5A8E-603C-3E4F-9180-F3A42700CDB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56681" y="497023"/>
            <a:ext cx="1239794" cy="506480"/>
          </a:xfrm>
          <a:prstGeom prst="rect">
            <a:avLst/>
          </a:prstGeom>
        </p:spPr>
      </p:pic>
      <p:cxnSp>
        <p:nvCxnSpPr>
          <p:cNvPr id="16" name="Conector recto 6">
            <a:extLst>
              <a:ext uri="{FF2B5EF4-FFF2-40B4-BE49-F238E27FC236}">
                <a16:creationId xmlns:a16="http://schemas.microsoft.com/office/drawing/2014/main" xmlns="" id="{8E6D0E37-111D-2840-B1AB-B05ED7C9102B}"/>
              </a:ext>
            </a:extLst>
          </p:cNvPr>
          <p:cNvCxnSpPr/>
          <p:nvPr/>
        </p:nvCxnSpPr>
        <p:spPr>
          <a:xfrm>
            <a:off x="511867" y="363806"/>
            <a:ext cx="1629316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26AE0AF1-6A18-8F4D-82D8-39CC3D333569}"/>
              </a:ext>
            </a:extLst>
          </p:cNvPr>
          <p:cNvSpPr txBox="1"/>
          <p:nvPr/>
        </p:nvSpPr>
        <p:spPr>
          <a:xfrm>
            <a:off x="-2188029" y="4702629"/>
            <a:ext cx="184731" cy="4205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pic>
        <p:nvPicPr>
          <p:cNvPr id="10" name="Imagen 9" descr="Un grupo de personas en construcción&#10;&#10;Descripción generada automáticamente con confianza media">
            <a:extLst>
              <a:ext uri="{FF2B5EF4-FFF2-40B4-BE49-F238E27FC236}">
                <a16:creationId xmlns="" xmlns:a16="http://schemas.microsoft.com/office/drawing/2014/main" id="{E3343148-FF95-8EB9-9FA8-6E0553E88826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3" b="728"/>
          <a:stretch/>
        </p:blipFill>
        <p:spPr>
          <a:xfrm>
            <a:off x="4530156" y="1500869"/>
            <a:ext cx="7663432" cy="5357131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426633236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2004" y="1210"/>
          <a:ext cx="1210" cy="12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397" name="Diapositiva de think-cell" r:id="rId6" imgW="415" imgH="416" progId="TCLayout.ActiveDocument.1">
                  <p:embed/>
                </p:oleObj>
              </mc:Choice>
              <mc:Fallback>
                <p:oleObj name="Diapositiva de think-cell" r:id="rId6" imgW="415" imgH="416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004" y="1210"/>
                        <a:ext cx="1210" cy="121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Imagen 8">
            <a:extLst>
              <a:ext uri="{FF2B5EF4-FFF2-40B4-BE49-F238E27FC236}">
                <a16:creationId xmlns:a16="http://schemas.microsoft.com/office/drawing/2014/main" xmlns="" id="{598ACB2B-AECA-4946-A745-5AA37278C303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8259" b="29722"/>
          <a:stretch/>
        </p:blipFill>
        <p:spPr>
          <a:xfrm>
            <a:off x="4530156" y="1500869"/>
            <a:ext cx="7663432" cy="5356387"/>
          </a:xfrm>
          <a:prstGeom prst="rect">
            <a:avLst/>
          </a:prstGeom>
          <a:ln w="38100">
            <a:noFill/>
          </a:ln>
        </p:spPr>
      </p:pic>
      <p:sp>
        <p:nvSpPr>
          <p:cNvPr id="12" name="Título 30">
            <a:extLst>
              <a:ext uri="{FF2B5EF4-FFF2-40B4-BE49-F238E27FC236}">
                <a16:creationId xmlns:a16="http://schemas.microsoft.com/office/drawing/2014/main" xmlns="" id="{FD429B0E-BED1-2C40-9557-2AD2D6CB6E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550" y="555274"/>
            <a:ext cx="4391330" cy="464608"/>
          </a:xfrm>
        </p:spPr>
        <p:txBody>
          <a:bodyPr vert="horz">
            <a:normAutofit/>
          </a:bodyPr>
          <a:lstStyle/>
          <a:p>
            <a:pPr>
              <a:lnSpc>
                <a:spcPct val="100000"/>
              </a:lnSpc>
            </a:pPr>
            <a:r>
              <a:rPr lang="es-CL" sz="2000" dirty="0">
                <a:solidFill>
                  <a:srgbClr val="15BF45"/>
                </a:solidFill>
                <a:latin typeface="ACHS Nueva Serif" pitchFamily="2" charset="77"/>
              </a:rPr>
              <a:t>Sistema de protección de caídas</a:t>
            </a:r>
          </a:p>
        </p:txBody>
      </p:sp>
      <p:sp>
        <p:nvSpPr>
          <p:cNvPr id="13" name="Marcador de texto 31">
            <a:extLst>
              <a:ext uri="{FF2B5EF4-FFF2-40B4-BE49-F238E27FC236}">
                <a16:creationId xmlns:a16="http://schemas.microsoft.com/office/drawing/2014/main" xmlns="" id="{1B9FBAFC-98B5-764A-BD35-7E2CE7631C20}"/>
              </a:ext>
            </a:extLst>
          </p:cNvPr>
          <p:cNvSpPr txBox="1">
            <a:spLocks/>
          </p:cNvSpPr>
          <p:nvPr/>
        </p:nvSpPr>
        <p:spPr>
          <a:xfrm>
            <a:off x="568550" y="1468228"/>
            <a:ext cx="3584028" cy="7073340"/>
          </a:xfrm>
          <a:prstGeom prst="rect">
            <a:avLst/>
          </a:prstGeom>
        </p:spPr>
        <p:txBody>
          <a:bodyPr>
            <a:norm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110000"/>
              </a:lnSpc>
              <a:spcBef>
                <a:spcPts val="200"/>
              </a:spcBef>
              <a:buClr>
                <a:srgbClr val="15C047"/>
              </a:buClr>
              <a:buFont typeface="Arial" panose="020B0604020202020204" pitchFamily="34" charset="0"/>
              <a:buChar char="•"/>
              <a:defRPr/>
            </a:pPr>
            <a:r>
              <a:rPr lang="es-CL" sz="1500" dirty="0">
                <a:latin typeface="ACHS Nueva Sans Medium" pitchFamily="2" charset="77"/>
              </a:rPr>
              <a:t>Es recomendable que tenga facilidad de ajuste ya que en muchas ocasiones debemos jugar con la longitud de las       cintas dependiendo si requerimos el uso del arnés o simplemente lo llevamos puesto. </a:t>
            </a:r>
          </a:p>
          <a:p>
            <a:pPr>
              <a:lnSpc>
                <a:spcPct val="110000"/>
              </a:lnSpc>
              <a:spcBef>
                <a:spcPts val="200"/>
              </a:spcBef>
              <a:buClr>
                <a:srgbClr val="15C047"/>
              </a:buClr>
              <a:buFont typeface="Arial" panose="020B0604020202020204" pitchFamily="34" charset="0"/>
              <a:buChar char="•"/>
              <a:defRPr/>
            </a:pPr>
            <a:endParaRPr lang="es-CL" sz="1500" dirty="0">
              <a:latin typeface="ACHS Nueva Sans Medium" pitchFamily="2" charset="77"/>
            </a:endParaRPr>
          </a:p>
          <a:p>
            <a:pPr>
              <a:lnSpc>
                <a:spcPct val="110000"/>
              </a:lnSpc>
              <a:spcBef>
                <a:spcPts val="200"/>
              </a:spcBef>
              <a:buClr>
                <a:srgbClr val="15C047"/>
              </a:buClr>
              <a:buFont typeface="Arial" panose="020B0604020202020204" pitchFamily="34" charset="0"/>
              <a:buChar char="•"/>
              <a:defRPr/>
            </a:pPr>
            <a:r>
              <a:rPr lang="es-CL" sz="1500" dirty="0">
                <a:latin typeface="ACHS Nueva Sans Medium" pitchFamily="2" charset="77"/>
              </a:rPr>
              <a:t>Posibilidad para realizar un examen visual de todos los elementos. Las partes metálicas no deben presentar signos                  de corrosión.</a:t>
            </a:r>
          </a:p>
          <a:p>
            <a:pPr marL="0" indent="0">
              <a:lnSpc>
                <a:spcPct val="110000"/>
              </a:lnSpc>
              <a:spcBef>
                <a:spcPts val="200"/>
              </a:spcBef>
              <a:buClr>
                <a:srgbClr val="15C047"/>
              </a:buClr>
              <a:buNone/>
              <a:defRPr/>
            </a:pPr>
            <a:endParaRPr lang="es-CL" altLang="es-CL" sz="1500" dirty="0">
              <a:latin typeface="ACHS Nueva Sans Medium" pitchFamily="2" charset="77"/>
            </a:endParaRPr>
          </a:p>
          <a:p>
            <a:pPr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Font typeface="Arial" panose="020B0604020202020204" pitchFamily="34" charset="0"/>
              <a:buChar char="•"/>
              <a:defRPr/>
            </a:pPr>
            <a:endParaRPr lang="es-CL" altLang="es-CL" sz="1500" dirty="0"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None/>
              <a:defRPr/>
            </a:pPr>
            <a:endParaRPr lang="es-CL" altLang="es-CL" sz="1500" dirty="0"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None/>
            </a:pPr>
            <a:endParaRPr lang="es-CL" altLang="es-CL" sz="1500" dirty="0">
              <a:latin typeface="ACHS Nueva Sans Medium" pitchFamily="2" charset="77"/>
            </a:endParaRPr>
          </a:p>
          <a:p>
            <a:pPr algn="just">
              <a:lnSpc>
                <a:spcPct val="100000"/>
              </a:lnSpc>
              <a:spcBef>
                <a:spcPts val="914"/>
              </a:spcBef>
              <a:buClr>
                <a:srgbClr val="83B827"/>
              </a:buClr>
              <a:buSzPct val="100000"/>
              <a:buFont typeface="Arial" panose="020B0604020202020204" pitchFamily="34" charset="0"/>
              <a:buChar char="•"/>
            </a:pPr>
            <a:endParaRPr lang="es-CL" altLang="es-CL" sz="1500" kern="0" dirty="0">
              <a:solidFill>
                <a:srgbClr val="8A8A8A">
                  <a:lumMod val="75000"/>
                </a:srgbClr>
              </a:solidFill>
            </a:endParaRPr>
          </a:p>
        </p:txBody>
      </p:sp>
      <p:pic>
        <p:nvPicPr>
          <p:cNvPr id="14" name="Imagen 5">
            <a:extLst>
              <a:ext uri="{FF2B5EF4-FFF2-40B4-BE49-F238E27FC236}">
                <a16:creationId xmlns:a16="http://schemas.microsoft.com/office/drawing/2014/main" xmlns="" id="{CAAB5A8E-603C-3E4F-9180-F3A42700CDB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56681" y="497023"/>
            <a:ext cx="1239794" cy="506480"/>
          </a:xfrm>
          <a:prstGeom prst="rect">
            <a:avLst/>
          </a:prstGeom>
        </p:spPr>
      </p:pic>
      <p:cxnSp>
        <p:nvCxnSpPr>
          <p:cNvPr id="16" name="Conector recto 6">
            <a:extLst>
              <a:ext uri="{FF2B5EF4-FFF2-40B4-BE49-F238E27FC236}">
                <a16:creationId xmlns:a16="http://schemas.microsoft.com/office/drawing/2014/main" xmlns="" id="{8E6D0E37-111D-2840-B1AB-B05ED7C9102B}"/>
              </a:ext>
            </a:extLst>
          </p:cNvPr>
          <p:cNvCxnSpPr/>
          <p:nvPr/>
        </p:nvCxnSpPr>
        <p:spPr>
          <a:xfrm>
            <a:off x="511867" y="363806"/>
            <a:ext cx="1629316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26AE0AF1-6A18-8F4D-82D8-39CC3D333569}"/>
              </a:ext>
            </a:extLst>
          </p:cNvPr>
          <p:cNvSpPr txBox="1"/>
          <p:nvPr/>
        </p:nvSpPr>
        <p:spPr>
          <a:xfrm>
            <a:off x="-2188029" y="4702629"/>
            <a:ext cx="184731" cy="4205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pic>
        <p:nvPicPr>
          <p:cNvPr id="10" name="Imagen 9" descr="Un grupo de personas en construcción&#10;&#10;Descripción generada automáticamente con confianza media">
            <a:extLst>
              <a:ext uri="{FF2B5EF4-FFF2-40B4-BE49-F238E27FC236}">
                <a16:creationId xmlns="" xmlns:a16="http://schemas.microsoft.com/office/drawing/2014/main" id="{E3343148-FF95-8EB9-9FA8-6E0553E88826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3" b="728"/>
          <a:stretch/>
        </p:blipFill>
        <p:spPr>
          <a:xfrm>
            <a:off x="4530156" y="1500869"/>
            <a:ext cx="7663432" cy="5357131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2570014786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Elipse 10">
            <a:extLst>
              <a:ext uri="{FF2B5EF4-FFF2-40B4-BE49-F238E27FC236}">
                <a16:creationId xmlns:a16="http://schemas.microsoft.com/office/drawing/2014/main" xmlns="" id="{D47C20A8-227B-5647-BDBC-BB557B54646E}"/>
              </a:ext>
            </a:extLst>
          </p:cNvPr>
          <p:cNvSpPr/>
          <p:nvPr/>
        </p:nvSpPr>
        <p:spPr>
          <a:xfrm>
            <a:off x="3168383" y="2257194"/>
            <a:ext cx="1308484" cy="1331059"/>
          </a:xfrm>
          <a:prstGeom prst="ellipse">
            <a:avLst/>
          </a:prstGeom>
          <a:solidFill>
            <a:srgbClr val="15BF45"/>
          </a:solidFill>
          <a:ln w="12700" cap="flat">
            <a:noFill/>
            <a:miter lim="400000"/>
          </a:ln>
          <a:effectLst/>
          <a:sp3d/>
        </p:spPr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5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3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07" name="Elipse 10">
            <a:extLst>
              <a:ext uri="{FF2B5EF4-FFF2-40B4-BE49-F238E27FC236}">
                <a16:creationId xmlns:a16="http://schemas.microsoft.com/office/drawing/2014/main" xmlns="" id="{1DE29BE3-CCD8-6242-A646-51024041B598}"/>
              </a:ext>
            </a:extLst>
          </p:cNvPr>
          <p:cNvSpPr/>
          <p:nvPr/>
        </p:nvSpPr>
        <p:spPr>
          <a:xfrm>
            <a:off x="5504302" y="2249313"/>
            <a:ext cx="1308484" cy="1331059"/>
          </a:xfrm>
          <a:prstGeom prst="ellipse">
            <a:avLst/>
          </a:prstGeom>
          <a:solidFill>
            <a:srgbClr val="15BF45"/>
          </a:solidFill>
          <a:ln w="12700" cap="flat">
            <a:noFill/>
            <a:miter lim="400000"/>
          </a:ln>
          <a:effectLst/>
          <a:sp3d/>
        </p:spPr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5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3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10" name="Elipse 10">
            <a:extLst>
              <a:ext uri="{FF2B5EF4-FFF2-40B4-BE49-F238E27FC236}">
                <a16:creationId xmlns:a16="http://schemas.microsoft.com/office/drawing/2014/main" xmlns="" id="{D40437E8-992A-E04B-833E-22156795630A}"/>
              </a:ext>
            </a:extLst>
          </p:cNvPr>
          <p:cNvSpPr/>
          <p:nvPr/>
        </p:nvSpPr>
        <p:spPr>
          <a:xfrm>
            <a:off x="7859885" y="2249313"/>
            <a:ext cx="1308484" cy="1331059"/>
          </a:xfrm>
          <a:prstGeom prst="ellipse">
            <a:avLst/>
          </a:prstGeom>
          <a:solidFill>
            <a:srgbClr val="15BF45"/>
          </a:solidFill>
          <a:ln w="12700" cap="flat">
            <a:noFill/>
            <a:miter lim="400000"/>
          </a:ln>
          <a:effectLst/>
          <a:sp3d/>
        </p:spPr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5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3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13" name="Elipse 10">
            <a:extLst>
              <a:ext uri="{FF2B5EF4-FFF2-40B4-BE49-F238E27FC236}">
                <a16:creationId xmlns:a16="http://schemas.microsoft.com/office/drawing/2014/main" xmlns="" id="{ABB8BEE9-4B47-A24B-AF11-FCD99CF71AE9}"/>
              </a:ext>
            </a:extLst>
          </p:cNvPr>
          <p:cNvSpPr/>
          <p:nvPr/>
        </p:nvSpPr>
        <p:spPr>
          <a:xfrm>
            <a:off x="10242549" y="2249313"/>
            <a:ext cx="1308484" cy="1331059"/>
          </a:xfrm>
          <a:prstGeom prst="ellipse">
            <a:avLst/>
          </a:prstGeom>
          <a:solidFill>
            <a:srgbClr val="15BF45"/>
          </a:solidFill>
          <a:ln w="12700" cap="flat">
            <a:noFill/>
            <a:miter lim="400000"/>
          </a:ln>
          <a:effectLst/>
          <a:sp3d/>
        </p:spPr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5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3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86" name="Elipse 10">
            <a:extLst>
              <a:ext uri="{FF2B5EF4-FFF2-40B4-BE49-F238E27FC236}">
                <a16:creationId xmlns:a16="http://schemas.microsoft.com/office/drawing/2014/main" xmlns="" id="{84ABCEBD-FFD8-5B4F-9213-FFB2736003F4}"/>
              </a:ext>
            </a:extLst>
          </p:cNvPr>
          <p:cNvSpPr/>
          <p:nvPr/>
        </p:nvSpPr>
        <p:spPr>
          <a:xfrm>
            <a:off x="783893" y="2249313"/>
            <a:ext cx="1308484" cy="1331059"/>
          </a:xfrm>
          <a:prstGeom prst="ellipse">
            <a:avLst/>
          </a:prstGeom>
          <a:solidFill>
            <a:srgbClr val="15BF45"/>
          </a:solidFill>
          <a:ln w="12700" cap="flat">
            <a:noFill/>
            <a:miter lim="400000"/>
          </a:ln>
          <a:effectLst/>
          <a:sp3d/>
        </p:spPr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5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3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97" name="CuadroTexto 9">
            <a:extLst>
              <a:ext uri="{FF2B5EF4-FFF2-40B4-BE49-F238E27FC236}">
                <a16:creationId xmlns:a16="http://schemas.microsoft.com/office/drawing/2014/main" xmlns="" id="{751B7FA9-4BD3-284E-9F92-F2B18D699D15}"/>
              </a:ext>
            </a:extLst>
          </p:cNvPr>
          <p:cNvSpPr txBox="1"/>
          <p:nvPr/>
        </p:nvSpPr>
        <p:spPr>
          <a:xfrm>
            <a:off x="1241448" y="1720756"/>
            <a:ext cx="850858" cy="134447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defTabSz="2438338" eaLnBrk="1" fontAlgn="auto" latinLnBrk="0" hangingPunct="0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4800" b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CHS Nueva Sans SemiBold" pitchFamily="2" charset="77"/>
                <a:sym typeface="Helvetica Neue"/>
              </a:rPr>
              <a:t>1</a:t>
            </a:r>
          </a:p>
        </p:txBody>
      </p:sp>
      <p:sp>
        <p:nvSpPr>
          <p:cNvPr id="100" name="CuadroTexto 41">
            <a:extLst>
              <a:ext uri="{FF2B5EF4-FFF2-40B4-BE49-F238E27FC236}">
                <a16:creationId xmlns:a16="http://schemas.microsoft.com/office/drawing/2014/main" xmlns="" id="{49E44A66-5A1A-4344-A1B7-29013E1AFA24}"/>
              </a:ext>
            </a:extLst>
          </p:cNvPr>
          <p:cNvSpPr txBox="1"/>
          <p:nvPr/>
        </p:nvSpPr>
        <p:spPr>
          <a:xfrm>
            <a:off x="8244815" y="1720754"/>
            <a:ext cx="850858" cy="134447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defTabSz="2438338" eaLnBrk="1" fontAlgn="auto" latinLnBrk="0" hangingPunct="0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4800" b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CHS Nueva Sans SemiBold" pitchFamily="2" charset="77"/>
                <a:sym typeface="Helvetica Neue"/>
              </a:rPr>
              <a:t>4</a:t>
            </a:r>
          </a:p>
        </p:txBody>
      </p:sp>
      <p:sp>
        <p:nvSpPr>
          <p:cNvPr id="115" name="CuadroTexto 9">
            <a:extLst>
              <a:ext uri="{FF2B5EF4-FFF2-40B4-BE49-F238E27FC236}">
                <a16:creationId xmlns:a16="http://schemas.microsoft.com/office/drawing/2014/main" xmlns="" id="{B6E6544A-B733-C74C-BFA4-10C7D37112AF}"/>
              </a:ext>
            </a:extLst>
          </p:cNvPr>
          <p:cNvSpPr txBox="1"/>
          <p:nvPr/>
        </p:nvSpPr>
        <p:spPr>
          <a:xfrm>
            <a:off x="3598772" y="1732525"/>
            <a:ext cx="850858" cy="134447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defTabSz="2438338" eaLnBrk="1" fontAlgn="auto" latinLnBrk="0" hangingPunct="0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CL" sz="4800" b="1" kern="0" dirty="0">
                <a:solidFill>
                  <a:srgbClr val="FFFFFF"/>
                </a:solidFill>
                <a:latin typeface="ACHS Nueva Sans SemiBold" pitchFamily="2" charset="77"/>
                <a:sym typeface="Helvetica Neue"/>
              </a:rPr>
              <a:t>2</a:t>
            </a:r>
            <a:endParaRPr kumimoji="0" lang="es-CL" sz="4800" b="1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CHS Nueva Sans SemiBold" pitchFamily="2" charset="77"/>
              <a:sym typeface="Helvetica Neue"/>
            </a:endParaRPr>
          </a:p>
        </p:txBody>
      </p:sp>
      <p:sp>
        <p:nvSpPr>
          <p:cNvPr id="116" name="CuadroTexto 9">
            <a:extLst>
              <a:ext uri="{FF2B5EF4-FFF2-40B4-BE49-F238E27FC236}">
                <a16:creationId xmlns:a16="http://schemas.microsoft.com/office/drawing/2014/main" xmlns="" id="{2C2522D7-99C9-D041-A95C-B5B785A9648D}"/>
              </a:ext>
            </a:extLst>
          </p:cNvPr>
          <p:cNvSpPr txBox="1"/>
          <p:nvPr/>
        </p:nvSpPr>
        <p:spPr>
          <a:xfrm>
            <a:off x="5952988" y="1712372"/>
            <a:ext cx="850858" cy="134447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defTabSz="2438338" eaLnBrk="1" fontAlgn="auto" latinLnBrk="0" hangingPunct="0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CL" sz="4800" b="1" kern="0" dirty="0">
                <a:solidFill>
                  <a:srgbClr val="FFFFFF"/>
                </a:solidFill>
                <a:latin typeface="ACHS Nueva Sans SemiBold" pitchFamily="2" charset="77"/>
                <a:sym typeface="Helvetica Neue"/>
              </a:rPr>
              <a:t>3</a:t>
            </a:r>
            <a:endParaRPr kumimoji="0" lang="es-CL" sz="4800" b="1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CHS Nueva Sans SemiBold" pitchFamily="2" charset="77"/>
              <a:sym typeface="Helvetica Neue"/>
            </a:endParaRPr>
          </a:p>
        </p:txBody>
      </p:sp>
      <p:sp>
        <p:nvSpPr>
          <p:cNvPr id="117" name="CuadroTexto 9">
            <a:extLst>
              <a:ext uri="{FF2B5EF4-FFF2-40B4-BE49-F238E27FC236}">
                <a16:creationId xmlns:a16="http://schemas.microsoft.com/office/drawing/2014/main" xmlns="" id="{6A1A6FD3-7332-6541-BE85-6C00D0193821}"/>
              </a:ext>
            </a:extLst>
          </p:cNvPr>
          <p:cNvSpPr txBox="1"/>
          <p:nvPr/>
        </p:nvSpPr>
        <p:spPr>
          <a:xfrm>
            <a:off x="10673468" y="1720754"/>
            <a:ext cx="850858" cy="134447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defTabSz="2438338" eaLnBrk="1" fontAlgn="auto" latinLnBrk="0" hangingPunct="0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4800" b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CHS Nueva Sans SemiBold" pitchFamily="2" charset="77"/>
                <a:sym typeface="Helvetica Neue"/>
              </a:rPr>
              <a:t>5</a:t>
            </a:r>
          </a:p>
        </p:txBody>
      </p:sp>
      <p:sp>
        <p:nvSpPr>
          <p:cNvPr id="124" name="Rectángulo 33">
            <a:extLst>
              <a:ext uri="{FF2B5EF4-FFF2-40B4-BE49-F238E27FC236}">
                <a16:creationId xmlns:a16="http://schemas.microsoft.com/office/drawing/2014/main" xmlns="" id="{236B29BB-5A58-A144-A091-95754A813F0A}"/>
              </a:ext>
            </a:extLst>
          </p:cNvPr>
          <p:cNvSpPr/>
          <p:nvPr/>
        </p:nvSpPr>
        <p:spPr>
          <a:xfrm>
            <a:off x="2829175" y="2922724"/>
            <a:ext cx="2042360" cy="3116207"/>
          </a:xfrm>
          <a:prstGeom prst="roundRect">
            <a:avLst/>
          </a:prstGeom>
          <a:solidFill>
            <a:srgbClr val="E9EADD"/>
          </a:solidFill>
          <a:ln w="12700" cap="flat">
            <a:noFill/>
            <a:miter lim="400000"/>
          </a:ln>
          <a:effectLst/>
          <a:sp3d/>
        </p:spPr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5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3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25" name="Rectángulo 33">
            <a:extLst>
              <a:ext uri="{FF2B5EF4-FFF2-40B4-BE49-F238E27FC236}">
                <a16:creationId xmlns:a16="http://schemas.microsoft.com/office/drawing/2014/main" xmlns="" id="{225E28CF-09A4-CA4C-BE1B-6016587CA41C}"/>
              </a:ext>
            </a:extLst>
          </p:cNvPr>
          <p:cNvSpPr/>
          <p:nvPr/>
        </p:nvSpPr>
        <p:spPr>
          <a:xfrm>
            <a:off x="419877" y="2922724"/>
            <a:ext cx="2042360" cy="3116207"/>
          </a:xfrm>
          <a:prstGeom prst="roundRect">
            <a:avLst/>
          </a:prstGeom>
          <a:solidFill>
            <a:srgbClr val="E9EADD"/>
          </a:solidFill>
          <a:ln w="12700" cap="flat">
            <a:noFill/>
            <a:miter lim="400000"/>
          </a:ln>
          <a:effectLst/>
          <a:sp3d/>
        </p:spPr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5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3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26" name="Rectángulo 33">
            <a:extLst>
              <a:ext uri="{FF2B5EF4-FFF2-40B4-BE49-F238E27FC236}">
                <a16:creationId xmlns:a16="http://schemas.microsoft.com/office/drawing/2014/main" xmlns="" id="{CFD6A3EC-CAB7-F946-8057-2CE746BA446B}"/>
              </a:ext>
            </a:extLst>
          </p:cNvPr>
          <p:cNvSpPr/>
          <p:nvPr/>
        </p:nvSpPr>
        <p:spPr>
          <a:xfrm>
            <a:off x="7496405" y="2914840"/>
            <a:ext cx="2042360" cy="3116207"/>
          </a:xfrm>
          <a:prstGeom prst="roundRect">
            <a:avLst/>
          </a:prstGeom>
          <a:solidFill>
            <a:srgbClr val="E9EADD"/>
          </a:solidFill>
          <a:ln w="12700" cap="flat">
            <a:noFill/>
            <a:miter lim="400000"/>
          </a:ln>
          <a:effectLst/>
          <a:sp3d/>
        </p:spPr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5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3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27" name="Rectángulo 33">
            <a:extLst>
              <a:ext uri="{FF2B5EF4-FFF2-40B4-BE49-F238E27FC236}">
                <a16:creationId xmlns:a16="http://schemas.microsoft.com/office/drawing/2014/main" xmlns="" id="{71BF1ED1-26A4-4447-BDD6-C3D05401B09C}"/>
              </a:ext>
            </a:extLst>
          </p:cNvPr>
          <p:cNvSpPr/>
          <p:nvPr/>
        </p:nvSpPr>
        <p:spPr>
          <a:xfrm>
            <a:off x="9875611" y="2914840"/>
            <a:ext cx="2042360" cy="3116207"/>
          </a:xfrm>
          <a:prstGeom prst="roundRect">
            <a:avLst/>
          </a:prstGeom>
          <a:solidFill>
            <a:srgbClr val="E9EADD"/>
          </a:solidFill>
          <a:ln w="12700" cap="flat">
            <a:noFill/>
            <a:miter lim="400000"/>
          </a:ln>
          <a:effectLst/>
          <a:sp3d/>
        </p:spPr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5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3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08" name="Rectángulo 33">
            <a:extLst>
              <a:ext uri="{FF2B5EF4-FFF2-40B4-BE49-F238E27FC236}">
                <a16:creationId xmlns:a16="http://schemas.microsoft.com/office/drawing/2014/main" xmlns="" id="{25BF1392-8721-474C-8890-6B7FB6F1E43A}"/>
              </a:ext>
            </a:extLst>
          </p:cNvPr>
          <p:cNvSpPr/>
          <p:nvPr/>
        </p:nvSpPr>
        <p:spPr>
          <a:xfrm>
            <a:off x="5131241" y="2922724"/>
            <a:ext cx="2042360" cy="3116207"/>
          </a:xfrm>
          <a:prstGeom prst="roundRect">
            <a:avLst/>
          </a:prstGeom>
          <a:solidFill>
            <a:srgbClr val="E9EADD"/>
          </a:solidFill>
          <a:ln w="12700" cap="flat">
            <a:noFill/>
            <a:miter lim="400000"/>
          </a:ln>
          <a:effectLst/>
          <a:sp3d/>
        </p:spPr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5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3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2004" y="1210"/>
          <a:ext cx="1210" cy="12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419" name="Diapositiva de think-cell" r:id="rId6" imgW="415" imgH="416" progId="TCLayout.ActiveDocument.1">
                  <p:embed/>
                </p:oleObj>
              </mc:Choice>
              <mc:Fallback>
                <p:oleObj name="Diapositiva de think-cell" r:id="rId6" imgW="415" imgH="416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004" y="1210"/>
                        <a:ext cx="1210" cy="121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Título 30">
            <a:extLst>
              <a:ext uri="{FF2B5EF4-FFF2-40B4-BE49-F238E27FC236}">
                <a16:creationId xmlns:a16="http://schemas.microsoft.com/office/drawing/2014/main" xmlns="" id="{80832A9A-ADDB-E845-8443-9D1670CD83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178" y="534186"/>
            <a:ext cx="6915038" cy="464608"/>
          </a:xfrm>
        </p:spPr>
        <p:txBody>
          <a:bodyPr vert="horz">
            <a:normAutofit/>
          </a:bodyPr>
          <a:lstStyle/>
          <a:p>
            <a:r>
              <a:rPr lang="es-CL" sz="2000" dirty="0">
                <a:solidFill>
                  <a:srgbClr val="15BF45"/>
                </a:solidFill>
                <a:latin typeface="ACHS Nueva Serif" pitchFamily="2" charset="77"/>
              </a:rPr>
              <a:t>Requisitos para realizar trabajos en altura:</a:t>
            </a:r>
          </a:p>
        </p:txBody>
      </p:sp>
      <p:sp>
        <p:nvSpPr>
          <p:cNvPr id="92" name="Marcador de texto 31">
            <a:extLst>
              <a:ext uri="{FF2B5EF4-FFF2-40B4-BE49-F238E27FC236}">
                <a16:creationId xmlns:a16="http://schemas.microsoft.com/office/drawing/2014/main" xmlns="" id="{949EC74C-BD45-7147-BF15-AFC0C4022F95}"/>
              </a:ext>
            </a:extLst>
          </p:cNvPr>
          <p:cNvSpPr txBox="1">
            <a:spLocks/>
          </p:cNvSpPr>
          <p:nvPr/>
        </p:nvSpPr>
        <p:spPr>
          <a:xfrm>
            <a:off x="506512" y="3284984"/>
            <a:ext cx="2025195" cy="1800200"/>
          </a:xfrm>
          <a:prstGeom prst="rect">
            <a:avLst/>
          </a:prstGeom>
        </p:spPr>
        <p:txBody>
          <a:bodyPr>
            <a:noAutofit/>
          </a:bodyPr>
          <a:lstStyle>
            <a:defPPr>
              <a:defRPr lang="es-CL"/>
            </a:defPPr>
            <a:lvl1pPr marR="0" indent="0" algn="just" defTabSz="1597354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4B54"/>
              </a:buClr>
              <a:buSzPct val="100000"/>
              <a:buFontTx/>
              <a:buNone/>
              <a:tabLst/>
              <a:defRPr sz="2200" b="0" i="0" u="none" strike="noStrike" kern="0" cap="none" spc="0" baseline="0">
                <a:solidFill>
                  <a:srgbClr val="8A8A8A">
                    <a:lumMod val="75000"/>
                  </a:srgbClr>
                </a:solidFill>
                <a:uFillTx/>
                <a:latin typeface="Arial"/>
                <a:ea typeface="Arial"/>
                <a:cs typeface="Arial"/>
              </a:defRPr>
            </a:lvl1pPr>
            <a:lvl2pPr marL="1465196" marR="0" indent="-1065596" defTabSz="1597354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</a:defRPr>
            </a:lvl2pPr>
            <a:lvl3pPr marL="1864794" marR="0" indent="-1065596" defTabSz="1597354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</a:defRPr>
            </a:lvl3pPr>
            <a:lvl4pPr marL="2264393" marR="0" indent="-1065596" defTabSz="1597354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</a:defRPr>
            </a:lvl4pPr>
            <a:lvl5pPr marL="2663992" marR="0" indent="-1065596" defTabSz="1597354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</a:defRPr>
            </a:lvl5pPr>
            <a:lvl6pPr marL="2963690" marR="0" indent="-1065596" defTabSz="1597354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</a:defRPr>
            </a:lvl6pPr>
            <a:lvl7pPr marL="3263389" marR="0" indent="-1065596" defTabSz="1597354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</a:defRPr>
            </a:lvl7pPr>
            <a:lvl8pPr marL="3563089" marR="0" indent="-1065596" defTabSz="1597354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</a:defRPr>
            </a:lvl8pPr>
            <a:lvl9pPr marL="3862787" marR="0" indent="-1065596" defTabSz="1597354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</a:defRPr>
            </a:lvl9pPr>
          </a:lstStyle>
          <a:p>
            <a:pPr marL="0" marR="0" lvl="0" indent="0" algn="l" defTabSz="1597354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83B827"/>
              </a:buClr>
              <a:buSzPct val="100000"/>
              <a:buFontTx/>
              <a:buNone/>
              <a:tabLst/>
              <a:defRPr/>
            </a:pPr>
            <a:r>
              <a:rPr kumimoji="0" lang="es-MX" sz="1300" u="none" strike="noStrike" kern="0" cap="none" spc="0" normalizeH="0" baseline="0" noProof="0" dirty="0">
                <a:ln>
                  <a:noFill/>
                </a:ln>
                <a:solidFill>
                  <a:srgbClr val="15BF45"/>
                </a:solidFill>
                <a:effectLst/>
                <a:uLnTx/>
                <a:uFillTx/>
                <a:latin typeface="ACHS Nueva Sans Medium" pitchFamily="2" charset="77"/>
              </a:rPr>
              <a:t>No se debe </a:t>
            </a:r>
            <a:r>
              <a:rPr kumimoji="0" lang="es-CL" altLang="es-CL" sz="1300" u="none" strike="noStrike" kern="0" cap="none" spc="0" normalizeH="0" baseline="0" noProof="0" dirty="0">
                <a:ln>
                  <a:noFill/>
                </a:ln>
                <a:solidFill>
                  <a:srgbClr val="15BF45"/>
                </a:solidFill>
                <a:effectLst/>
                <a:uLnTx/>
                <a:uFillTx/>
                <a:latin typeface="ACHS Nueva Sans Medium" pitchFamily="2" charset="77"/>
              </a:rPr>
              <a:t>a los trabajadores con impedimentos físicos en puestos de trabajo que pueden significar un riesgo para su integridad física.</a:t>
            </a:r>
          </a:p>
          <a:p>
            <a:pPr marL="0" marR="0" lvl="0" indent="0" algn="l" defTabSz="1597354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83B827"/>
              </a:buClr>
              <a:buSzPct val="100000"/>
              <a:buFontTx/>
              <a:buNone/>
              <a:tabLst/>
              <a:defRPr/>
            </a:pPr>
            <a:r>
              <a:rPr kumimoji="0" lang="es-MX" sz="1300" u="none" strike="noStrike" kern="0" cap="none" spc="0" normalizeH="0" baseline="0" noProof="0" dirty="0">
                <a:ln>
                  <a:noFill/>
                </a:ln>
                <a:solidFill>
                  <a:srgbClr val="15BF45"/>
                </a:solidFill>
                <a:effectLst/>
                <a:uLnTx/>
                <a:uFillTx/>
                <a:latin typeface="ACHS Nueva Sans Medium" pitchFamily="2" charset="77"/>
              </a:rPr>
              <a:t> </a:t>
            </a:r>
            <a:endParaRPr kumimoji="0" lang="es-CL" sz="1300" u="none" strike="noStrike" kern="0" cap="none" spc="0" normalizeH="0" baseline="0" noProof="0" dirty="0">
              <a:ln>
                <a:noFill/>
              </a:ln>
              <a:solidFill>
                <a:srgbClr val="15BF45"/>
              </a:solidFill>
              <a:effectLst/>
              <a:uLnTx/>
              <a:uFillTx/>
              <a:latin typeface="ACHS Nueva Sans Medium" pitchFamily="2" charset="77"/>
            </a:endParaRPr>
          </a:p>
        </p:txBody>
      </p:sp>
      <p:sp>
        <p:nvSpPr>
          <p:cNvPr id="93" name="Marcador de texto 31">
            <a:extLst>
              <a:ext uri="{FF2B5EF4-FFF2-40B4-BE49-F238E27FC236}">
                <a16:creationId xmlns:a16="http://schemas.microsoft.com/office/drawing/2014/main" xmlns="" id="{4EA2440F-5AB9-0A4E-83AF-EFF77BBAB7A6}"/>
              </a:ext>
            </a:extLst>
          </p:cNvPr>
          <p:cNvSpPr txBox="1">
            <a:spLocks/>
          </p:cNvSpPr>
          <p:nvPr/>
        </p:nvSpPr>
        <p:spPr>
          <a:xfrm>
            <a:off x="2840552" y="3284984"/>
            <a:ext cx="1967885" cy="1800200"/>
          </a:xfrm>
          <a:prstGeom prst="rect">
            <a:avLst/>
          </a:prstGeom>
        </p:spPr>
        <p:txBody>
          <a:bodyPr>
            <a:noAutofit/>
          </a:bodyPr>
          <a:lstStyle>
            <a:defPPr>
              <a:defRPr lang="es-CL"/>
            </a:defPPr>
            <a:lvl1pPr marR="0" indent="0" algn="just" defTabSz="1597354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4B54"/>
              </a:buClr>
              <a:buSzPct val="100000"/>
              <a:buFontTx/>
              <a:buNone/>
              <a:tabLst/>
              <a:defRPr sz="2200" b="0" i="0" u="none" strike="noStrike" kern="0" cap="none" spc="0" baseline="0">
                <a:solidFill>
                  <a:srgbClr val="8A8A8A">
                    <a:lumMod val="75000"/>
                  </a:srgbClr>
                </a:solidFill>
                <a:uFillTx/>
                <a:latin typeface="Arial"/>
                <a:ea typeface="Arial"/>
                <a:cs typeface="Arial"/>
              </a:defRPr>
            </a:lvl1pPr>
            <a:lvl2pPr marL="1465196" marR="0" indent="-1065596" defTabSz="1597354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</a:defRPr>
            </a:lvl2pPr>
            <a:lvl3pPr marL="1864794" marR="0" indent="-1065596" defTabSz="1597354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</a:defRPr>
            </a:lvl3pPr>
            <a:lvl4pPr marL="2264393" marR="0" indent="-1065596" defTabSz="1597354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</a:defRPr>
            </a:lvl4pPr>
            <a:lvl5pPr marL="2663992" marR="0" indent="-1065596" defTabSz="1597354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</a:defRPr>
            </a:lvl5pPr>
            <a:lvl6pPr marL="2963690" marR="0" indent="-1065596" defTabSz="1597354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</a:defRPr>
            </a:lvl6pPr>
            <a:lvl7pPr marL="3263389" marR="0" indent="-1065596" defTabSz="1597354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</a:defRPr>
            </a:lvl7pPr>
            <a:lvl8pPr marL="3563089" marR="0" indent="-1065596" defTabSz="1597354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</a:defRPr>
            </a:lvl8pPr>
            <a:lvl9pPr marL="3862787" marR="0" indent="-1065596" defTabSz="1597354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</a:defRPr>
            </a:lvl9pPr>
          </a:lstStyle>
          <a:p>
            <a:pPr marL="0" marR="0" lvl="0" indent="0" algn="l" defTabSz="1597354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83B827"/>
              </a:buClr>
              <a:buSzPct val="100000"/>
              <a:buFontTx/>
              <a:buNone/>
              <a:tabLst/>
              <a:defRPr/>
            </a:pPr>
            <a:r>
              <a:rPr kumimoji="0" lang="es-CL" altLang="es-CL" sz="1300" u="none" strike="noStrike" kern="0" cap="none" spc="0" normalizeH="0" baseline="0" noProof="0" dirty="0">
                <a:ln>
                  <a:noFill/>
                </a:ln>
                <a:solidFill>
                  <a:srgbClr val="15BF45"/>
                </a:solidFill>
                <a:effectLst/>
                <a:uLnTx/>
                <a:uFillTx/>
                <a:latin typeface="ACHS Nueva Sans Medium" pitchFamily="2" charset="77"/>
              </a:rPr>
              <a:t>Los trabajadores se deben someter a un examen médico para acreditar que están aptos para trabajar en altura física</a:t>
            </a:r>
            <a:r>
              <a:rPr kumimoji="0" lang="es-MX" altLang="es-CL" sz="1300" u="none" strike="noStrike" kern="0" cap="none" spc="0" normalizeH="0" baseline="0" noProof="0" dirty="0">
                <a:ln>
                  <a:noFill/>
                </a:ln>
                <a:solidFill>
                  <a:srgbClr val="15BF45"/>
                </a:solidFill>
                <a:effectLst/>
                <a:uLnTx/>
                <a:uFillTx/>
                <a:latin typeface="ACHS Nueva Sans Medium" pitchFamily="2" charset="77"/>
              </a:rPr>
              <a:t>.</a:t>
            </a:r>
            <a:endParaRPr kumimoji="0" lang="es-CL" sz="1300" u="none" strike="noStrike" kern="0" cap="none" spc="0" normalizeH="0" baseline="0" noProof="0" dirty="0">
              <a:ln>
                <a:noFill/>
              </a:ln>
              <a:solidFill>
                <a:srgbClr val="15BF45"/>
              </a:solidFill>
              <a:effectLst/>
              <a:uLnTx/>
              <a:uFillTx/>
              <a:latin typeface="ACHS Nueva Sans Medium" pitchFamily="2" charset="77"/>
            </a:endParaRPr>
          </a:p>
        </p:txBody>
      </p:sp>
      <p:sp>
        <p:nvSpPr>
          <p:cNvPr id="94" name="Marcador de texto 31">
            <a:extLst>
              <a:ext uri="{FF2B5EF4-FFF2-40B4-BE49-F238E27FC236}">
                <a16:creationId xmlns:a16="http://schemas.microsoft.com/office/drawing/2014/main" xmlns="" id="{89CC581E-8EAF-3C4A-89EF-47ECA73EA52B}"/>
              </a:ext>
            </a:extLst>
          </p:cNvPr>
          <p:cNvSpPr txBox="1">
            <a:spLocks/>
          </p:cNvSpPr>
          <p:nvPr/>
        </p:nvSpPr>
        <p:spPr>
          <a:xfrm>
            <a:off x="5222256" y="3170224"/>
            <a:ext cx="1961125" cy="3829919"/>
          </a:xfrm>
          <a:prstGeom prst="rect">
            <a:avLst/>
          </a:prstGeom>
        </p:spPr>
        <p:txBody>
          <a:bodyPr>
            <a:noAutofit/>
          </a:bodyPr>
          <a:lstStyle>
            <a:defPPr>
              <a:defRPr lang="es-CL"/>
            </a:defPPr>
            <a:lvl1pPr marR="0" indent="0" algn="just" defTabSz="1597354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4B54"/>
              </a:buClr>
              <a:buSzPct val="100000"/>
              <a:buFontTx/>
              <a:buNone/>
              <a:tabLst/>
              <a:defRPr sz="2200" b="0" i="0" u="none" strike="noStrike" kern="0" cap="none" spc="0" baseline="0">
                <a:solidFill>
                  <a:srgbClr val="8A8A8A">
                    <a:lumMod val="75000"/>
                  </a:srgbClr>
                </a:solidFill>
                <a:uFillTx/>
                <a:latin typeface="Arial"/>
                <a:ea typeface="Arial"/>
                <a:cs typeface="Arial"/>
              </a:defRPr>
            </a:lvl1pPr>
            <a:lvl2pPr marL="1465196" marR="0" indent="-1065596" defTabSz="1597354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</a:defRPr>
            </a:lvl2pPr>
            <a:lvl3pPr marL="1864794" marR="0" indent="-1065596" defTabSz="1597354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</a:defRPr>
            </a:lvl3pPr>
            <a:lvl4pPr marL="2264393" marR="0" indent="-1065596" defTabSz="1597354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</a:defRPr>
            </a:lvl4pPr>
            <a:lvl5pPr marL="2663992" marR="0" indent="-1065596" defTabSz="1597354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</a:defRPr>
            </a:lvl5pPr>
            <a:lvl6pPr marL="2963690" marR="0" indent="-1065596" defTabSz="1597354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</a:defRPr>
            </a:lvl6pPr>
            <a:lvl7pPr marL="3263389" marR="0" indent="-1065596" defTabSz="1597354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</a:defRPr>
            </a:lvl7pPr>
            <a:lvl8pPr marL="3563089" marR="0" indent="-1065596" defTabSz="1597354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</a:defRPr>
            </a:lvl8pPr>
            <a:lvl9pPr marL="3862787" marR="0" indent="-1065596" defTabSz="1597354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</a:defRPr>
            </a:lvl9pPr>
          </a:lstStyle>
          <a:p>
            <a:pPr marL="0" marR="0" lvl="0" indent="0" algn="l" defTabSz="1597354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6600"/>
              </a:buClr>
              <a:buSzPct val="100000"/>
              <a:buFontTx/>
              <a:buNone/>
              <a:tabLst/>
              <a:defRPr/>
            </a:pPr>
            <a:r>
              <a:rPr kumimoji="0" lang="es-CL" altLang="es-CL" sz="1300" u="none" strike="noStrike" kern="0" cap="none" spc="0" normalizeH="0" baseline="0" noProof="0" dirty="0">
                <a:ln>
                  <a:noFill/>
                </a:ln>
                <a:solidFill>
                  <a:srgbClr val="15BF45"/>
                </a:solidFill>
                <a:effectLst/>
                <a:uLnTx/>
                <a:uFillTx/>
                <a:latin typeface="ACHS Nueva Sans Medium" pitchFamily="2" charset="77"/>
              </a:rPr>
              <a:t>Se prohíbe a los trabajadores presentarse en estado de intemperancia, estado pos etílico, bajo la influencia de drogas o en estado síquico o psicológico que signifique un peligro para la integridad del trabajador, de sus compañeros o de               los equipos.</a:t>
            </a:r>
          </a:p>
          <a:p>
            <a:pPr marL="0" marR="0" lvl="0" indent="0" algn="l" defTabSz="1597354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83B827"/>
              </a:buClr>
              <a:buSzPct val="100000"/>
              <a:buFontTx/>
              <a:buNone/>
              <a:tabLst/>
              <a:defRPr/>
            </a:pPr>
            <a:r>
              <a:rPr kumimoji="0" lang="es-MX" sz="1300" u="none" strike="noStrike" kern="0" cap="none" spc="0" normalizeH="0" baseline="0" noProof="0" dirty="0">
                <a:ln>
                  <a:noFill/>
                </a:ln>
                <a:solidFill>
                  <a:srgbClr val="15BF45"/>
                </a:solidFill>
                <a:effectLst/>
                <a:uLnTx/>
                <a:uFillTx/>
                <a:latin typeface="ACHS Nueva Sans Medium" pitchFamily="2" charset="77"/>
              </a:rPr>
              <a:t> </a:t>
            </a:r>
            <a:endParaRPr kumimoji="0" lang="es-CL" sz="1300" u="none" strike="noStrike" kern="0" cap="none" spc="0" normalizeH="0" baseline="0" noProof="0" dirty="0">
              <a:ln>
                <a:noFill/>
              </a:ln>
              <a:solidFill>
                <a:srgbClr val="15BF45"/>
              </a:solidFill>
              <a:effectLst/>
              <a:uLnTx/>
              <a:uFillTx/>
              <a:latin typeface="ACHS Nueva Sans Medium" pitchFamily="2" charset="77"/>
            </a:endParaRPr>
          </a:p>
          <a:p>
            <a:pPr marL="0" marR="0" lvl="0" indent="0" algn="l" defTabSz="1597354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6600"/>
              </a:buClr>
              <a:buSzPct val="100000"/>
              <a:buFontTx/>
              <a:buNone/>
              <a:tabLst/>
              <a:defRPr/>
            </a:pPr>
            <a:endParaRPr kumimoji="0" lang="es-CL" sz="1300" u="none" strike="noStrike" kern="0" cap="none" spc="0" normalizeH="0" baseline="0" noProof="0" dirty="0">
              <a:ln>
                <a:noFill/>
              </a:ln>
              <a:solidFill>
                <a:srgbClr val="15BF45"/>
              </a:solidFill>
              <a:effectLst/>
              <a:uLnTx/>
              <a:uFillTx/>
              <a:latin typeface="ACHS Nueva Sans Medium" pitchFamily="2" charset="77"/>
            </a:endParaRPr>
          </a:p>
        </p:txBody>
      </p:sp>
      <p:sp>
        <p:nvSpPr>
          <p:cNvPr id="95" name="Marcador de texto 31">
            <a:extLst>
              <a:ext uri="{FF2B5EF4-FFF2-40B4-BE49-F238E27FC236}">
                <a16:creationId xmlns:a16="http://schemas.microsoft.com/office/drawing/2014/main" xmlns="" id="{A21DD393-AE95-1044-B918-999F566208D7}"/>
              </a:ext>
            </a:extLst>
          </p:cNvPr>
          <p:cNvSpPr txBox="1">
            <a:spLocks/>
          </p:cNvSpPr>
          <p:nvPr/>
        </p:nvSpPr>
        <p:spPr>
          <a:xfrm>
            <a:off x="7556158" y="3284984"/>
            <a:ext cx="1990526" cy="1800200"/>
          </a:xfrm>
          <a:prstGeom prst="rect">
            <a:avLst/>
          </a:prstGeom>
        </p:spPr>
        <p:txBody>
          <a:bodyPr>
            <a:noAutofit/>
          </a:bodyPr>
          <a:lstStyle>
            <a:defPPr>
              <a:defRPr lang="es-CL"/>
            </a:defPPr>
            <a:lvl1pPr marR="0" indent="0" algn="just" defTabSz="1597354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4B54"/>
              </a:buClr>
              <a:buSzPct val="100000"/>
              <a:buFontTx/>
              <a:buNone/>
              <a:tabLst/>
              <a:defRPr sz="2200" b="0" i="0" u="none" strike="noStrike" kern="0" cap="none" spc="0" baseline="0">
                <a:solidFill>
                  <a:srgbClr val="8A8A8A">
                    <a:lumMod val="75000"/>
                  </a:srgbClr>
                </a:solidFill>
                <a:uFillTx/>
                <a:latin typeface="Arial"/>
                <a:ea typeface="Arial"/>
                <a:cs typeface="Arial"/>
              </a:defRPr>
            </a:lvl1pPr>
            <a:lvl2pPr marL="1465196" marR="0" indent="-1065596" defTabSz="1597354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</a:defRPr>
            </a:lvl2pPr>
            <a:lvl3pPr marL="1864794" marR="0" indent="-1065596" defTabSz="1597354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</a:defRPr>
            </a:lvl3pPr>
            <a:lvl4pPr marL="2264393" marR="0" indent="-1065596" defTabSz="1597354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</a:defRPr>
            </a:lvl4pPr>
            <a:lvl5pPr marL="2663992" marR="0" indent="-1065596" defTabSz="1597354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</a:defRPr>
            </a:lvl5pPr>
            <a:lvl6pPr marL="2963690" marR="0" indent="-1065596" defTabSz="1597354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</a:defRPr>
            </a:lvl6pPr>
            <a:lvl7pPr marL="3263389" marR="0" indent="-1065596" defTabSz="1597354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</a:defRPr>
            </a:lvl7pPr>
            <a:lvl8pPr marL="3563089" marR="0" indent="-1065596" defTabSz="1597354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</a:defRPr>
            </a:lvl8pPr>
            <a:lvl9pPr marL="3862787" marR="0" indent="-1065596" defTabSz="1597354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</a:defRPr>
            </a:lvl9pPr>
          </a:lstStyle>
          <a:p>
            <a:pPr marL="0" marR="0" lvl="0" indent="0" algn="l" defTabSz="1597354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6600"/>
              </a:buClr>
              <a:buSzPct val="100000"/>
              <a:buFontTx/>
              <a:buNone/>
              <a:tabLst/>
              <a:defRPr/>
            </a:pPr>
            <a:r>
              <a:rPr kumimoji="0" lang="es-CL" altLang="es-CL" sz="1300" u="none" strike="noStrike" kern="0" cap="none" spc="0" normalizeH="0" baseline="0" noProof="0" dirty="0">
                <a:ln>
                  <a:noFill/>
                </a:ln>
                <a:solidFill>
                  <a:srgbClr val="15BF45"/>
                </a:solidFill>
                <a:effectLst/>
                <a:uLnTx/>
                <a:uFillTx/>
                <a:latin typeface="ACHS Nueva Sans Medium" pitchFamily="2" charset="77"/>
              </a:rPr>
              <a:t>Los trabajadores deben comunicar a su supervisor cualquier alteración a su estado de salud física o psicológico que signifique una disminución de sus capacidades.</a:t>
            </a:r>
          </a:p>
        </p:txBody>
      </p:sp>
      <p:sp>
        <p:nvSpPr>
          <p:cNvPr id="96" name="Marcador de texto 31">
            <a:extLst>
              <a:ext uri="{FF2B5EF4-FFF2-40B4-BE49-F238E27FC236}">
                <a16:creationId xmlns:a16="http://schemas.microsoft.com/office/drawing/2014/main" xmlns="" id="{F9527DCB-9EFF-5448-AA1E-FE65733DC104}"/>
              </a:ext>
            </a:extLst>
          </p:cNvPr>
          <p:cNvSpPr txBox="1">
            <a:spLocks/>
          </p:cNvSpPr>
          <p:nvPr/>
        </p:nvSpPr>
        <p:spPr>
          <a:xfrm>
            <a:off x="10032541" y="3284984"/>
            <a:ext cx="1952770" cy="1800200"/>
          </a:xfrm>
          <a:prstGeom prst="rect">
            <a:avLst/>
          </a:prstGeom>
        </p:spPr>
        <p:txBody>
          <a:bodyPr>
            <a:noAutofit/>
          </a:bodyPr>
          <a:lstStyle>
            <a:defPPr>
              <a:defRPr lang="es-CL"/>
            </a:defPPr>
            <a:lvl1pPr marR="0" indent="0" algn="just" defTabSz="1597354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4B54"/>
              </a:buClr>
              <a:buSzPct val="100000"/>
              <a:buFontTx/>
              <a:buNone/>
              <a:tabLst/>
              <a:defRPr sz="2200" b="0" i="0" u="none" strike="noStrike" kern="0" cap="none" spc="0" baseline="0">
                <a:solidFill>
                  <a:srgbClr val="8A8A8A">
                    <a:lumMod val="75000"/>
                  </a:srgbClr>
                </a:solidFill>
                <a:uFillTx/>
                <a:latin typeface="Arial"/>
                <a:ea typeface="Arial"/>
                <a:cs typeface="Arial"/>
              </a:defRPr>
            </a:lvl1pPr>
            <a:lvl2pPr marL="1465196" marR="0" indent="-1065596" defTabSz="1597354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</a:defRPr>
            </a:lvl2pPr>
            <a:lvl3pPr marL="1864794" marR="0" indent="-1065596" defTabSz="1597354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</a:defRPr>
            </a:lvl3pPr>
            <a:lvl4pPr marL="2264393" marR="0" indent="-1065596" defTabSz="1597354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</a:defRPr>
            </a:lvl4pPr>
            <a:lvl5pPr marL="2663992" marR="0" indent="-1065596" defTabSz="1597354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</a:defRPr>
            </a:lvl5pPr>
            <a:lvl6pPr marL="2963690" marR="0" indent="-1065596" defTabSz="1597354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</a:defRPr>
            </a:lvl6pPr>
            <a:lvl7pPr marL="3263389" marR="0" indent="-1065596" defTabSz="1597354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</a:defRPr>
            </a:lvl7pPr>
            <a:lvl8pPr marL="3563089" marR="0" indent="-1065596" defTabSz="1597354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</a:defRPr>
            </a:lvl8pPr>
            <a:lvl9pPr marL="3862787" marR="0" indent="-1065596" defTabSz="1597354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</a:defRPr>
            </a:lvl9pPr>
          </a:lstStyle>
          <a:p>
            <a:pPr marL="0" marR="0" lvl="0" indent="0" algn="l" defTabSz="1597354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6600"/>
              </a:buClr>
              <a:buSzPct val="100000"/>
              <a:buFontTx/>
              <a:buNone/>
              <a:tabLst/>
              <a:defRPr/>
            </a:pPr>
            <a:r>
              <a:rPr kumimoji="0" lang="es-CL" altLang="es-CL" sz="1300" u="none" strike="noStrike" kern="0" cap="none" spc="0" normalizeH="0" baseline="0" noProof="0" dirty="0">
                <a:ln>
                  <a:noFill/>
                </a:ln>
                <a:solidFill>
                  <a:srgbClr val="15BF45"/>
                </a:solidFill>
                <a:effectLst/>
                <a:uLnTx/>
                <a:uFillTx/>
                <a:latin typeface="ACHS Nueva Sans Medium" pitchFamily="2" charset="77"/>
              </a:rPr>
              <a:t>Está prohibido efectuar juegos o bromas durante la ejecución de                            los trabajos.</a:t>
            </a:r>
          </a:p>
        </p:txBody>
      </p:sp>
      <p:pic>
        <p:nvPicPr>
          <p:cNvPr id="119" name="Imagen 5">
            <a:extLst>
              <a:ext uri="{FF2B5EF4-FFF2-40B4-BE49-F238E27FC236}">
                <a16:creationId xmlns:a16="http://schemas.microsoft.com/office/drawing/2014/main" xmlns="" id="{C820CF06-4AAC-0D46-A40B-EB3D0C87BB5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56681" y="497023"/>
            <a:ext cx="1239794" cy="506480"/>
          </a:xfrm>
          <a:prstGeom prst="rect">
            <a:avLst/>
          </a:prstGeom>
        </p:spPr>
      </p:pic>
      <p:cxnSp>
        <p:nvCxnSpPr>
          <p:cNvPr id="120" name="Conector recto 6">
            <a:extLst>
              <a:ext uri="{FF2B5EF4-FFF2-40B4-BE49-F238E27FC236}">
                <a16:creationId xmlns:a16="http://schemas.microsoft.com/office/drawing/2014/main" xmlns="" id="{DF653F7A-6C96-DE4D-8235-E916822615A0}"/>
              </a:ext>
            </a:extLst>
          </p:cNvPr>
          <p:cNvCxnSpPr/>
          <p:nvPr/>
        </p:nvCxnSpPr>
        <p:spPr>
          <a:xfrm>
            <a:off x="511867" y="363806"/>
            <a:ext cx="1629316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custDataLst>
      <p:tags r:id="rId2"/>
    </p:custDataLst>
    <p:extLst>
      <p:ext uri="{BB962C8B-B14F-4D97-AF65-F5344CB8AC3E}">
        <p14:creationId xmlns:p14="http://schemas.microsoft.com/office/powerpoint/2010/main" val="428705841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2839" t="-14" r="6061" b="14"/>
          <a:stretch/>
        </p:blipFill>
        <p:spPr>
          <a:xfrm>
            <a:off x="4508896" y="1512330"/>
            <a:ext cx="7708578" cy="5344914"/>
          </a:xfrm>
          <a:prstGeom prst="rect">
            <a:avLst/>
          </a:prstGeom>
        </p:spPr>
      </p:pic>
      <p:graphicFrame>
        <p:nvGraphicFramePr>
          <p:cNvPr id="5" name="Objeto 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410653998"/>
              </p:ext>
            </p:extLst>
          </p:nvPr>
        </p:nvGraphicFramePr>
        <p:xfrm>
          <a:off x="2004" y="1210"/>
          <a:ext cx="1210" cy="12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054" name="Diapositiva de think-cell" r:id="rId7" imgW="415" imgH="416" progId="TCLayout.ActiveDocument.1">
                  <p:embed/>
                </p:oleObj>
              </mc:Choice>
              <mc:Fallback>
                <p:oleObj name="Diapositiva de think-cell" r:id="rId7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004" y="1210"/>
                        <a:ext cx="1210" cy="121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Imagen 5">
            <a:extLst>
              <a:ext uri="{FF2B5EF4-FFF2-40B4-BE49-F238E27FC236}">
                <a16:creationId xmlns:a16="http://schemas.microsoft.com/office/drawing/2014/main" xmlns="" id="{607AA783-7885-9D48-9267-F7E87B6FD76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56681" y="497023"/>
            <a:ext cx="1239794" cy="506480"/>
          </a:xfrm>
          <a:prstGeom prst="rect">
            <a:avLst/>
          </a:prstGeom>
        </p:spPr>
      </p:pic>
      <p:sp>
        <p:nvSpPr>
          <p:cNvPr id="10" name="Marcador de texto 31">
            <a:extLst>
              <a:ext uri="{FF2B5EF4-FFF2-40B4-BE49-F238E27FC236}">
                <a16:creationId xmlns:a16="http://schemas.microsoft.com/office/drawing/2014/main" xmlns="" id="{EB13BD25-84DE-C640-9AC4-1A0DB1BD686D}"/>
              </a:ext>
            </a:extLst>
          </p:cNvPr>
          <p:cNvSpPr txBox="1">
            <a:spLocks/>
          </p:cNvSpPr>
          <p:nvPr/>
        </p:nvSpPr>
        <p:spPr>
          <a:xfrm>
            <a:off x="582495" y="1512330"/>
            <a:ext cx="3354059" cy="5085016"/>
          </a:xfrm>
          <a:prstGeom prst="rect">
            <a:avLst/>
          </a:prstGeom>
        </p:spPr>
        <p:txBody>
          <a:bodyPr>
            <a:no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spcBef>
                <a:spcPts val="100"/>
              </a:spcBef>
              <a:buClr>
                <a:srgbClr val="15C047"/>
              </a:buClr>
              <a:buNone/>
            </a:pPr>
            <a:r>
              <a:rPr lang="es-CL" sz="1600" dirty="0">
                <a:latin typeface="ACHS Nueva Sans Medium" pitchFamily="2" charset="77"/>
              </a:rPr>
              <a:t>La realización de trabajos en altura implica actuar con responsabilidad y cumpliendo todas las normas establecidas, cualquier error o incumplimiento de estas, puede significar un riesgo para el trabajador.</a:t>
            </a:r>
          </a:p>
          <a:p>
            <a:pPr>
              <a:spcBef>
                <a:spcPts val="100"/>
              </a:spcBef>
              <a:buClr>
                <a:srgbClr val="15C047"/>
              </a:buClr>
            </a:pPr>
            <a:endParaRPr lang="es-CL" sz="1600" dirty="0">
              <a:latin typeface="ACHS Nueva Sans Medium" pitchFamily="2" charset="77"/>
            </a:endParaRPr>
          </a:p>
          <a:p>
            <a:pPr marL="0" indent="0">
              <a:spcBef>
                <a:spcPts val="100"/>
              </a:spcBef>
              <a:buClr>
                <a:srgbClr val="15C047"/>
              </a:buClr>
              <a:buNone/>
            </a:pPr>
            <a:r>
              <a:rPr lang="es-CL" sz="1600" dirty="0">
                <a:latin typeface="ACHS Nueva Sans Medium" pitchFamily="2" charset="77"/>
              </a:rPr>
              <a:t>Además, la utilización correcta de los equipos de protección personal y los Sistema de detención de caídas, ayudara considerablemente ante</a:t>
            </a:r>
          </a:p>
          <a:p>
            <a:pPr marL="0" indent="0">
              <a:spcBef>
                <a:spcPts val="100"/>
              </a:spcBef>
              <a:buClr>
                <a:srgbClr val="15C047"/>
              </a:buClr>
              <a:buNone/>
            </a:pPr>
            <a:r>
              <a:rPr lang="es-CL" sz="1600" dirty="0">
                <a:latin typeface="ACHS Nueva Sans Medium" pitchFamily="2" charset="77"/>
              </a:rPr>
              <a:t> un incidente.</a:t>
            </a:r>
          </a:p>
          <a:p>
            <a:pPr marL="135466" indent="-135466">
              <a:lnSpc>
                <a:spcPct val="100000"/>
              </a:lnSpc>
              <a:spcBef>
                <a:spcPts val="1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endParaRPr lang="es-ES" sz="160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135466" indent="-135466">
              <a:lnSpc>
                <a:spcPct val="100000"/>
              </a:lnSpc>
              <a:spcBef>
                <a:spcPts val="1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endParaRPr lang="es-ES" sz="160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135466" indent="-135466">
              <a:lnSpc>
                <a:spcPct val="100000"/>
              </a:lnSpc>
              <a:spcBef>
                <a:spcPts val="1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endParaRPr lang="es-ES" sz="160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135466" indent="-135466">
              <a:lnSpc>
                <a:spcPct val="100000"/>
              </a:lnSpc>
              <a:spcBef>
                <a:spcPts val="1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endParaRPr lang="es-ES" sz="160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135466" indent="-135466">
              <a:lnSpc>
                <a:spcPct val="100000"/>
              </a:lnSpc>
              <a:spcBef>
                <a:spcPts val="1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endParaRPr lang="es-ES" altLang="es-CL" sz="160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135466" indent="-135466">
              <a:lnSpc>
                <a:spcPct val="100000"/>
              </a:lnSpc>
              <a:spcBef>
                <a:spcPts val="1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endParaRPr lang="es-ES" altLang="es-CL" sz="160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135466" indent="-135466">
              <a:lnSpc>
                <a:spcPct val="100000"/>
              </a:lnSpc>
              <a:spcBef>
                <a:spcPts val="1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endParaRPr lang="es-CL" altLang="es-CL" sz="160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135466" indent="-135466">
              <a:lnSpc>
                <a:spcPct val="100000"/>
              </a:lnSpc>
              <a:spcBef>
                <a:spcPts val="1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endParaRPr lang="es-CL" sz="160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sz="1600" kern="0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  <p:cxnSp>
        <p:nvCxnSpPr>
          <p:cNvPr id="11" name="Conector recto 6">
            <a:extLst>
              <a:ext uri="{FF2B5EF4-FFF2-40B4-BE49-F238E27FC236}">
                <a16:creationId xmlns:a16="http://schemas.microsoft.com/office/drawing/2014/main" xmlns="" id="{E89178C0-D084-AE4D-887A-956B5EB99646}"/>
              </a:ext>
            </a:extLst>
          </p:cNvPr>
          <p:cNvCxnSpPr/>
          <p:nvPr/>
        </p:nvCxnSpPr>
        <p:spPr>
          <a:xfrm>
            <a:off x="511867" y="363806"/>
            <a:ext cx="1629316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2" name="Título 30">
            <a:extLst>
              <a:ext uri="{FF2B5EF4-FFF2-40B4-BE49-F238E27FC236}">
                <a16:creationId xmlns:a16="http://schemas.microsoft.com/office/drawing/2014/main" xmlns="" id="{A4315FEE-EA15-4443-8E64-D2990C4250C0}"/>
              </a:ext>
            </a:extLst>
          </p:cNvPr>
          <p:cNvSpPr txBox="1">
            <a:spLocks/>
          </p:cNvSpPr>
          <p:nvPr/>
        </p:nvSpPr>
        <p:spPr>
          <a:xfrm>
            <a:off x="582494" y="623527"/>
            <a:ext cx="4391330" cy="464608"/>
          </a:xfrm>
          <a:prstGeom prst="rect">
            <a:avLst/>
          </a:prstGeom>
        </p:spPr>
        <p:txBody>
          <a:bodyPr vert="horz">
            <a:normAutofit fontScale="97500"/>
          </a:bodyPr>
          <a:lstStyle>
            <a:lvl1pPr algn="l" defTabSz="913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396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000" dirty="0">
                <a:solidFill>
                  <a:srgbClr val="15C047"/>
                </a:solidFill>
                <a:latin typeface="ACHS Nueva Serif" pitchFamily="2" charset="77"/>
              </a:rPr>
              <a:t>Conclusión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18116906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B035BA01-3820-0D49-B44E-B4F99E7447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="" xmlns:a16="http://schemas.microsoft.com/office/drawing/2014/main" id="{8FF4BCEE-EF67-F649-AF32-944821D8ED1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Rectángulo 3">
            <a:extLst>
              <a:ext uri="{FF2B5EF4-FFF2-40B4-BE49-F238E27FC236}">
                <a16:creationId xmlns="" xmlns:a16="http://schemas.microsoft.com/office/drawing/2014/main" id="{09574CC7-AE90-D142-A007-56E366130952}"/>
              </a:ext>
            </a:extLst>
          </p:cNvPr>
          <p:cNvSpPr/>
          <p:nvPr/>
        </p:nvSpPr>
        <p:spPr>
          <a:xfrm>
            <a:off x="794" y="1180"/>
            <a:ext cx="12192000" cy="6858000"/>
          </a:xfrm>
          <a:prstGeom prst="rect">
            <a:avLst/>
          </a:prstGeom>
          <a:solidFill>
            <a:srgbClr val="EBE9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s-CL" sz="1800" dirty="0">
              <a:solidFill>
                <a:prstClr val="white"/>
              </a:solidFill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="" xmlns:a16="http://schemas.microsoft.com/office/drawing/2014/main" id="{22AF48BE-1D16-174E-9D61-AAAA6E1FDA71}"/>
              </a:ext>
            </a:extLst>
          </p:cNvPr>
          <p:cNvGrpSpPr>
            <a:grpSpLocks/>
          </p:cNvGrpSpPr>
          <p:nvPr/>
        </p:nvGrpSpPr>
        <p:grpSpPr bwMode="auto">
          <a:xfrm>
            <a:off x="1357843" y="1571875"/>
            <a:ext cx="2203200" cy="3715200"/>
            <a:chOff x="495" y="1002"/>
            <a:chExt cx="258" cy="473"/>
          </a:xfrm>
          <a:solidFill>
            <a:srgbClr val="0CC144"/>
          </a:solidFill>
        </p:grpSpPr>
        <p:sp>
          <p:nvSpPr>
            <p:cNvPr id="6" name="Freeform 5">
              <a:extLst>
                <a:ext uri="{FF2B5EF4-FFF2-40B4-BE49-F238E27FC236}">
                  <a16:creationId xmlns="" xmlns:a16="http://schemas.microsoft.com/office/drawing/2014/main" id="{34DA0A71-997A-6648-A38D-B5CEF703E8A2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" y="1427"/>
              <a:ext cx="22" cy="21"/>
            </a:xfrm>
            <a:custGeom>
              <a:avLst/>
              <a:gdLst>
                <a:gd name="T0" fmla="*/ 18 w 36"/>
                <a:gd name="T1" fmla="*/ 35 h 35"/>
                <a:gd name="T2" fmla="*/ 18 w 36"/>
                <a:gd name="T3" fmla="*/ 35 h 35"/>
                <a:gd name="T4" fmla="*/ 36 w 36"/>
                <a:gd name="T5" fmla="*/ 17 h 35"/>
                <a:gd name="T6" fmla="*/ 18 w 36"/>
                <a:gd name="T7" fmla="*/ 0 h 35"/>
                <a:gd name="T8" fmla="*/ 0 w 36"/>
                <a:gd name="T9" fmla="*/ 17 h 35"/>
                <a:gd name="T10" fmla="*/ 18 w 36"/>
                <a:gd name="T11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" h="35">
                  <a:moveTo>
                    <a:pt x="18" y="35"/>
                  </a:moveTo>
                  <a:lnTo>
                    <a:pt x="18" y="35"/>
                  </a:lnTo>
                  <a:cubicBezTo>
                    <a:pt x="28" y="35"/>
                    <a:pt x="36" y="27"/>
                    <a:pt x="36" y="17"/>
                  </a:cubicBezTo>
                  <a:cubicBezTo>
                    <a:pt x="36" y="7"/>
                    <a:pt x="28" y="0"/>
                    <a:pt x="18" y="0"/>
                  </a:cubicBezTo>
                  <a:cubicBezTo>
                    <a:pt x="8" y="0"/>
                    <a:pt x="0" y="7"/>
                    <a:pt x="0" y="17"/>
                  </a:cubicBezTo>
                  <a:cubicBezTo>
                    <a:pt x="0" y="27"/>
                    <a:pt x="8" y="35"/>
                    <a:pt x="18" y="3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s-CL" sz="1800">
                <a:solidFill>
                  <a:prstClr val="black"/>
                </a:solidFill>
              </a:endParaRPr>
            </a:p>
          </p:txBody>
        </p:sp>
        <p:sp>
          <p:nvSpPr>
            <p:cNvPr id="7" name="Freeform 6">
              <a:extLst>
                <a:ext uri="{FF2B5EF4-FFF2-40B4-BE49-F238E27FC236}">
                  <a16:creationId xmlns="" xmlns:a16="http://schemas.microsoft.com/office/drawing/2014/main" id="{88DFC691-DBE8-004F-A13D-664670C5C7EB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" y="1035"/>
              <a:ext cx="43" cy="22"/>
            </a:xfrm>
            <a:custGeom>
              <a:avLst/>
              <a:gdLst>
                <a:gd name="T0" fmla="*/ 54 w 71"/>
                <a:gd name="T1" fmla="*/ 0 h 36"/>
                <a:gd name="T2" fmla="*/ 54 w 71"/>
                <a:gd name="T3" fmla="*/ 0 h 36"/>
                <a:gd name="T4" fmla="*/ 18 w 71"/>
                <a:gd name="T5" fmla="*/ 0 h 36"/>
                <a:gd name="T6" fmla="*/ 0 w 71"/>
                <a:gd name="T7" fmla="*/ 18 h 36"/>
                <a:gd name="T8" fmla="*/ 18 w 71"/>
                <a:gd name="T9" fmla="*/ 36 h 36"/>
                <a:gd name="T10" fmla="*/ 54 w 71"/>
                <a:gd name="T11" fmla="*/ 36 h 36"/>
                <a:gd name="T12" fmla="*/ 71 w 71"/>
                <a:gd name="T13" fmla="*/ 18 h 36"/>
                <a:gd name="T14" fmla="*/ 54 w 71"/>
                <a:gd name="T15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1" h="36">
                  <a:moveTo>
                    <a:pt x="54" y="0"/>
                  </a:moveTo>
                  <a:lnTo>
                    <a:pt x="54" y="0"/>
                  </a:lnTo>
                  <a:lnTo>
                    <a:pt x="18" y="0"/>
                  </a:lnTo>
                  <a:cubicBezTo>
                    <a:pt x="8" y="0"/>
                    <a:pt x="0" y="8"/>
                    <a:pt x="0" y="18"/>
                  </a:cubicBezTo>
                  <a:cubicBezTo>
                    <a:pt x="0" y="28"/>
                    <a:pt x="8" y="36"/>
                    <a:pt x="18" y="36"/>
                  </a:cubicBezTo>
                  <a:lnTo>
                    <a:pt x="54" y="36"/>
                  </a:lnTo>
                  <a:cubicBezTo>
                    <a:pt x="63" y="36"/>
                    <a:pt x="71" y="28"/>
                    <a:pt x="71" y="18"/>
                  </a:cubicBezTo>
                  <a:cubicBezTo>
                    <a:pt x="71" y="8"/>
                    <a:pt x="63" y="0"/>
                    <a:pt x="5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s-CL" sz="1800">
                <a:solidFill>
                  <a:prstClr val="black"/>
                </a:solidFill>
              </a:endParaRPr>
            </a:p>
          </p:txBody>
        </p:sp>
        <p:sp>
          <p:nvSpPr>
            <p:cNvPr id="8" name="Freeform 7">
              <a:extLst>
                <a:ext uri="{FF2B5EF4-FFF2-40B4-BE49-F238E27FC236}">
                  <a16:creationId xmlns="" xmlns:a16="http://schemas.microsoft.com/office/drawing/2014/main" id="{1274D962-464B-6A4E-BB2A-5D7CFEA38C0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5" y="1002"/>
              <a:ext cx="258" cy="473"/>
            </a:xfrm>
            <a:custGeom>
              <a:avLst/>
              <a:gdLst>
                <a:gd name="T0" fmla="*/ 390 w 418"/>
                <a:gd name="T1" fmla="*/ 105 h 772"/>
                <a:gd name="T2" fmla="*/ 390 w 418"/>
                <a:gd name="T3" fmla="*/ 105 h 772"/>
                <a:gd name="T4" fmla="*/ 27 w 418"/>
                <a:gd name="T5" fmla="*/ 105 h 772"/>
                <a:gd name="T6" fmla="*/ 27 w 418"/>
                <a:gd name="T7" fmla="*/ 66 h 772"/>
                <a:gd name="T8" fmla="*/ 67 w 418"/>
                <a:gd name="T9" fmla="*/ 27 h 772"/>
                <a:gd name="T10" fmla="*/ 351 w 418"/>
                <a:gd name="T11" fmla="*/ 27 h 772"/>
                <a:gd name="T12" fmla="*/ 390 w 418"/>
                <a:gd name="T13" fmla="*/ 66 h 772"/>
                <a:gd name="T14" fmla="*/ 390 w 418"/>
                <a:gd name="T15" fmla="*/ 105 h 772"/>
                <a:gd name="T16" fmla="*/ 390 w 418"/>
                <a:gd name="T17" fmla="*/ 638 h 772"/>
                <a:gd name="T18" fmla="*/ 390 w 418"/>
                <a:gd name="T19" fmla="*/ 638 h 772"/>
                <a:gd name="T20" fmla="*/ 27 w 418"/>
                <a:gd name="T21" fmla="*/ 638 h 772"/>
                <a:gd name="T22" fmla="*/ 27 w 418"/>
                <a:gd name="T23" fmla="*/ 133 h 772"/>
                <a:gd name="T24" fmla="*/ 390 w 418"/>
                <a:gd name="T25" fmla="*/ 133 h 772"/>
                <a:gd name="T26" fmla="*/ 390 w 418"/>
                <a:gd name="T27" fmla="*/ 638 h 772"/>
                <a:gd name="T28" fmla="*/ 390 w 418"/>
                <a:gd name="T29" fmla="*/ 705 h 772"/>
                <a:gd name="T30" fmla="*/ 390 w 418"/>
                <a:gd name="T31" fmla="*/ 705 h 772"/>
                <a:gd name="T32" fmla="*/ 351 w 418"/>
                <a:gd name="T33" fmla="*/ 745 h 772"/>
                <a:gd name="T34" fmla="*/ 67 w 418"/>
                <a:gd name="T35" fmla="*/ 745 h 772"/>
                <a:gd name="T36" fmla="*/ 27 w 418"/>
                <a:gd name="T37" fmla="*/ 705 h 772"/>
                <a:gd name="T38" fmla="*/ 27 w 418"/>
                <a:gd name="T39" fmla="*/ 666 h 772"/>
                <a:gd name="T40" fmla="*/ 390 w 418"/>
                <a:gd name="T41" fmla="*/ 666 h 772"/>
                <a:gd name="T42" fmla="*/ 390 w 418"/>
                <a:gd name="T43" fmla="*/ 705 h 772"/>
                <a:gd name="T44" fmla="*/ 351 w 418"/>
                <a:gd name="T45" fmla="*/ 0 h 772"/>
                <a:gd name="T46" fmla="*/ 351 w 418"/>
                <a:gd name="T47" fmla="*/ 0 h 772"/>
                <a:gd name="T48" fmla="*/ 67 w 418"/>
                <a:gd name="T49" fmla="*/ 0 h 772"/>
                <a:gd name="T50" fmla="*/ 0 w 418"/>
                <a:gd name="T51" fmla="*/ 66 h 772"/>
                <a:gd name="T52" fmla="*/ 0 w 418"/>
                <a:gd name="T53" fmla="*/ 705 h 772"/>
                <a:gd name="T54" fmla="*/ 67 w 418"/>
                <a:gd name="T55" fmla="*/ 772 h 772"/>
                <a:gd name="T56" fmla="*/ 351 w 418"/>
                <a:gd name="T57" fmla="*/ 772 h 772"/>
                <a:gd name="T58" fmla="*/ 418 w 418"/>
                <a:gd name="T59" fmla="*/ 705 h 772"/>
                <a:gd name="T60" fmla="*/ 418 w 418"/>
                <a:gd name="T61" fmla="*/ 66 h 772"/>
                <a:gd name="T62" fmla="*/ 351 w 418"/>
                <a:gd name="T63" fmla="*/ 0 h 7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8" h="772">
                  <a:moveTo>
                    <a:pt x="390" y="105"/>
                  </a:moveTo>
                  <a:lnTo>
                    <a:pt x="390" y="105"/>
                  </a:lnTo>
                  <a:lnTo>
                    <a:pt x="27" y="105"/>
                  </a:lnTo>
                  <a:lnTo>
                    <a:pt x="27" y="66"/>
                  </a:lnTo>
                  <a:cubicBezTo>
                    <a:pt x="27" y="44"/>
                    <a:pt x="45" y="27"/>
                    <a:pt x="67" y="27"/>
                  </a:cubicBezTo>
                  <a:lnTo>
                    <a:pt x="351" y="27"/>
                  </a:lnTo>
                  <a:cubicBezTo>
                    <a:pt x="372" y="27"/>
                    <a:pt x="390" y="44"/>
                    <a:pt x="390" y="66"/>
                  </a:cubicBezTo>
                  <a:lnTo>
                    <a:pt x="390" y="105"/>
                  </a:lnTo>
                  <a:close/>
                  <a:moveTo>
                    <a:pt x="390" y="638"/>
                  </a:moveTo>
                  <a:lnTo>
                    <a:pt x="390" y="638"/>
                  </a:lnTo>
                  <a:lnTo>
                    <a:pt x="27" y="638"/>
                  </a:lnTo>
                  <a:lnTo>
                    <a:pt x="27" y="133"/>
                  </a:lnTo>
                  <a:lnTo>
                    <a:pt x="390" y="133"/>
                  </a:lnTo>
                  <a:lnTo>
                    <a:pt x="390" y="638"/>
                  </a:lnTo>
                  <a:close/>
                  <a:moveTo>
                    <a:pt x="390" y="705"/>
                  </a:moveTo>
                  <a:lnTo>
                    <a:pt x="390" y="705"/>
                  </a:lnTo>
                  <a:cubicBezTo>
                    <a:pt x="390" y="727"/>
                    <a:pt x="372" y="745"/>
                    <a:pt x="351" y="745"/>
                  </a:cubicBezTo>
                  <a:lnTo>
                    <a:pt x="67" y="745"/>
                  </a:lnTo>
                  <a:cubicBezTo>
                    <a:pt x="45" y="745"/>
                    <a:pt x="27" y="727"/>
                    <a:pt x="27" y="705"/>
                  </a:cubicBezTo>
                  <a:lnTo>
                    <a:pt x="27" y="666"/>
                  </a:lnTo>
                  <a:lnTo>
                    <a:pt x="390" y="666"/>
                  </a:lnTo>
                  <a:lnTo>
                    <a:pt x="390" y="705"/>
                  </a:lnTo>
                  <a:close/>
                  <a:moveTo>
                    <a:pt x="351" y="0"/>
                  </a:moveTo>
                  <a:lnTo>
                    <a:pt x="351" y="0"/>
                  </a:lnTo>
                  <a:lnTo>
                    <a:pt x="67" y="0"/>
                  </a:lnTo>
                  <a:cubicBezTo>
                    <a:pt x="30" y="0"/>
                    <a:pt x="0" y="29"/>
                    <a:pt x="0" y="66"/>
                  </a:cubicBezTo>
                  <a:lnTo>
                    <a:pt x="0" y="705"/>
                  </a:lnTo>
                  <a:cubicBezTo>
                    <a:pt x="0" y="742"/>
                    <a:pt x="30" y="772"/>
                    <a:pt x="67" y="772"/>
                  </a:cubicBezTo>
                  <a:lnTo>
                    <a:pt x="351" y="772"/>
                  </a:lnTo>
                  <a:cubicBezTo>
                    <a:pt x="388" y="772"/>
                    <a:pt x="418" y="742"/>
                    <a:pt x="418" y="705"/>
                  </a:cubicBezTo>
                  <a:lnTo>
                    <a:pt x="418" y="66"/>
                  </a:lnTo>
                  <a:cubicBezTo>
                    <a:pt x="418" y="29"/>
                    <a:pt x="388" y="0"/>
                    <a:pt x="351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s-CL" sz="1800" dirty="0">
                <a:solidFill>
                  <a:prstClr val="black"/>
                </a:solidFill>
              </a:endParaRPr>
            </a:p>
          </p:txBody>
        </p:sp>
      </p:grpSp>
      <p:sp>
        <p:nvSpPr>
          <p:cNvPr id="9" name="Freeform 22">
            <a:extLst>
              <a:ext uri="{FF2B5EF4-FFF2-40B4-BE49-F238E27FC236}">
                <a16:creationId xmlns="" xmlns:a16="http://schemas.microsoft.com/office/drawing/2014/main" id="{916A0246-60AB-E848-807A-41356E60F15C}"/>
              </a:ext>
            </a:extLst>
          </p:cNvPr>
          <p:cNvSpPr>
            <a:spLocks noEditPoints="1"/>
          </p:cNvSpPr>
          <p:nvPr/>
        </p:nvSpPr>
        <p:spPr bwMode="auto">
          <a:xfrm>
            <a:off x="5593557" y="1641600"/>
            <a:ext cx="5284800" cy="3574800"/>
          </a:xfrm>
          <a:custGeom>
            <a:avLst/>
            <a:gdLst>
              <a:gd name="T0" fmla="*/ 43 w 847"/>
              <a:gd name="T1" fmla="*/ 582 h 613"/>
              <a:gd name="T2" fmla="*/ 43 w 847"/>
              <a:gd name="T3" fmla="*/ 582 h 613"/>
              <a:gd name="T4" fmla="*/ 102 w 847"/>
              <a:gd name="T5" fmla="*/ 494 h 613"/>
              <a:gd name="T6" fmla="*/ 105 w 847"/>
              <a:gd name="T7" fmla="*/ 495 h 613"/>
              <a:gd name="T8" fmla="*/ 112 w 847"/>
              <a:gd name="T9" fmla="*/ 496 h 613"/>
              <a:gd name="T10" fmla="*/ 734 w 847"/>
              <a:gd name="T11" fmla="*/ 496 h 613"/>
              <a:gd name="T12" fmla="*/ 741 w 847"/>
              <a:gd name="T13" fmla="*/ 495 h 613"/>
              <a:gd name="T14" fmla="*/ 744 w 847"/>
              <a:gd name="T15" fmla="*/ 494 h 613"/>
              <a:gd name="T16" fmla="*/ 746 w 847"/>
              <a:gd name="T17" fmla="*/ 496 h 613"/>
              <a:gd name="T18" fmla="*/ 803 w 847"/>
              <a:gd name="T19" fmla="*/ 582 h 613"/>
              <a:gd name="T20" fmla="*/ 43 w 847"/>
              <a:gd name="T21" fmla="*/ 582 h 613"/>
              <a:gd name="T22" fmla="*/ 108 w 847"/>
              <a:gd name="T23" fmla="*/ 29 h 613"/>
              <a:gd name="T24" fmla="*/ 108 w 847"/>
              <a:gd name="T25" fmla="*/ 29 h 613"/>
              <a:gd name="T26" fmla="*/ 738 w 847"/>
              <a:gd name="T27" fmla="*/ 29 h 613"/>
              <a:gd name="T28" fmla="*/ 738 w 847"/>
              <a:gd name="T29" fmla="*/ 465 h 613"/>
              <a:gd name="T30" fmla="*/ 108 w 847"/>
              <a:gd name="T31" fmla="*/ 465 h 613"/>
              <a:gd name="T32" fmla="*/ 108 w 847"/>
              <a:gd name="T33" fmla="*/ 29 h 613"/>
              <a:gd name="T34" fmla="*/ 844 w 847"/>
              <a:gd name="T35" fmla="*/ 589 h 613"/>
              <a:gd name="T36" fmla="*/ 844 w 847"/>
              <a:gd name="T37" fmla="*/ 589 h 613"/>
              <a:gd name="T38" fmla="*/ 842 w 847"/>
              <a:gd name="T39" fmla="*/ 585 h 613"/>
              <a:gd name="T40" fmla="*/ 842 w 847"/>
              <a:gd name="T41" fmla="*/ 585 h 613"/>
              <a:gd name="T42" fmla="*/ 767 w 847"/>
              <a:gd name="T43" fmla="*/ 473 h 613"/>
              <a:gd name="T44" fmla="*/ 767 w 847"/>
              <a:gd name="T45" fmla="*/ 471 h 613"/>
              <a:gd name="T46" fmla="*/ 769 w 847"/>
              <a:gd name="T47" fmla="*/ 461 h 613"/>
              <a:gd name="T48" fmla="*/ 769 w 847"/>
              <a:gd name="T49" fmla="*/ 33 h 613"/>
              <a:gd name="T50" fmla="*/ 734 w 847"/>
              <a:gd name="T51" fmla="*/ 0 h 613"/>
              <a:gd name="T52" fmla="*/ 112 w 847"/>
              <a:gd name="T53" fmla="*/ 0 h 613"/>
              <a:gd name="T54" fmla="*/ 77 w 847"/>
              <a:gd name="T55" fmla="*/ 33 h 613"/>
              <a:gd name="T56" fmla="*/ 77 w 847"/>
              <a:gd name="T57" fmla="*/ 461 h 613"/>
              <a:gd name="T58" fmla="*/ 79 w 847"/>
              <a:gd name="T59" fmla="*/ 471 h 613"/>
              <a:gd name="T60" fmla="*/ 79 w 847"/>
              <a:gd name="T61" fmla="*/ 473 h 613"/>
              <a:gd name="T62" fmla="*/ 4 w 847"/>
              <a:gd name="T63" fmla="*/ 585 h 613"/>
              <a:gd name="T64" fmla="*/ 4 w 847"/>
              <a:gd name="T65" fmla="*/ 585 h 613"/>
              <a:gd name="T66" fmla="*/ 2 w 847"/>
              <a:gd name="T67" fmla="*/ 589 h 613"/>
              <a:gd name="T68" fmla="*/ 0 w 847"/>
              <a:gd name="T69" fmla="*/ 597 h 613"/>
              <a:gd name="T70" fmla="*/ 15 w 847"/>
              <a:gd name="T71" fmla="*/ 613 h 613"/>
              <a:gd name="T72" fmla="*/ 831 w 847"/>
              <a:gd name="T73" fmla="*/ 613 h 613"/>
              <a:gd name="T74" fmla="*/ 847 w 847"/>
              <a:gd name="T75" fmla="*/ 597 h 613"/>
              <a:gd name="T76" fmla="*/ 844 w 847"/>
              <a:gd name="T77" fmla="*/ 589 h 6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847" h="613">
                <a:moveTo>
                  <a:pt x="43" y="582"/>
                </a:moveTo>
                <a:lnTo>
                  <a:pt x="43" y="582"/>
                </a:lnTo>
                <a:lnTo>
                  <a:pt x="102" y="494"/>
                </a:lnTo>
                <a:lnTo>
                  <a:pt x="105" y="495"/>
                </a:lnTo>
                <a:cubicBezTo>
                  <a:pt x="108" y="495"/>
                  <a:pt x="110" y="496"/>
                  <a:pt x="112" y="496"/>
                </a:cubicBezTo>
                <a:lnTo>
                  <a:pt x="734" y="496"/>
                </a:lnTo>
                <a:cubicBezTo>
                  <a:pt x="736" y="496"/>
                  <a:pt x="739" y="495"/>
                  <a:pt x="741" y="495"/>
                </a:cubicBezTo>
                <a:lnTo>
                  <a:pt x="744" y="494"/>
                </a:lnTo>
                <a:lnTo>
                  <a:pt x="746" y="496"/>
                </a:lnTo>
                <a:lnTo>
                  <a:pt x="803" y="582"/>
                </a:lnTo>
                <a:lnTo>
                  <a:pt x="43" y="582"/>
                </a:lnTo>
                <a:close/>
                <a:moveTo>
                  <a:pt x="108" y="29"/>
                </a:moveTo>
                <a:lnTo>
                  <a:pt x="108" y="29"/>
                </a:lnTo>
                <a:lnTo>
                  <a:pt x="738" y="29"/>
                </a:lnTo>
                <a:lnTo>
                  <a:pt x="738" y="465"/>
                </a:lnTo>
                <a:lnTo>
                  <a:pt x="108" y="465"/>
                </a:lnTo>
                <a:lnTo>
                  <a:pt x="108" y="29"/>
                </a:lnTo>
                <a:close/>
                <a:moveTo>
                  <a:pt x="844" y="589"/>
                </a:moveTo>
                <a:lnTo>
                  <a:pt x="844" y="589"/>
                </a:lnTo>
                <a:lnTo>
                  <a:pt x="842" y="585"/>
                </a:lnTo>
                <a:lnTo>
                  <a:pt x="842" y="585"/>
                </a:lnTo>
                <a:lnTo>
                  <a:pt x="767" y="473"/>
                </a:lnTo>
                <a:lnTo>
                  <a:pt x="767" y="471"/>
                </a:lnTo>
                <a:cubicBezTo>
                  <a:pt x="768" y="467"/>
                  <a:pt x="769" y="464"/>
                  <a:pt x="769" y="461"/>
                </a:cubicBezTo>
                <a:lnTo>
                  <a:pt x="769" y="33"/>
                </a:lnTo>
                <a:cubicBezTo>
                  <a:pt x="769" y="14"/>
                  <a:pt x="753" y="0"/>
                  <a:pt x="734" y="0"/>
                </a:cubicBezTo>
                <a:lnTo>
                  <a:pt x="112" y="0"/>
                </a:lnTo>
                <a:cubicBezTo>
                  <a:pt x="93" y="0"/>
                  <a:pt x="77" y="14"/>
                  <a:pt x="77" y="33"/>
                </a:cubicBezTo>
                <a:lnTo>
                  <a:pt x="77" y="461"/>
                </a:lnTo>
                <a:cubicBezTo>
                  <a:pt x="77" y="464"/>
                  <a:pt x="78" y="467"/>
                  <a:pt x="79" y="471"/>
                </a:cubicBezTo>
                <a:lnTo>
                  <a:pt x="79" y="473"/>
                </a:lnTo>
                <a:lnTo>
                  <a:pt x="4" y="585"/>
                </a:lnTo>
                <a:lnTo>
                  <a:pt x="4" y="585"/>
                </a:lnTo>
                <a:lnTo>
                  <a:pt x="2" y="589"/>
                </a:lnTo>
                <a:cubicBezTo>
                  <a:pt x="0" y="592"/>
                  <a:pt x="0" y="595"/>
                  <a:pt x="0" y="597"/>
                </a:cubicBezTo>
                <a:cubicBezTo>
                  <a:pt x="0" y="606"/>
                  <a:pt x="6" y="613"/>
                  <a:pt x="15" y="613"/>
                </a:cubicBezTo>
                <a:lnTo>
                  <a:pt x="831" y="613"/>
                </a:lnTo>
                <a:cubicBezTo>
                  <a:pt x="840" y="613"/>
                  <a:pt x="847" y="606"/>
                  <a:pt x="847" y="597"/>
                </a:cubicBezTo>
                <a:cubicBezTo>
                  <a:pt x="847" y="595"/>
                  <a:pt x="846" y="592"/>
                  <a:pt x="844" y="589"/>
                </a:cubicBezTo>
                <a:close/>
              </a:path>
            </a:pathLst>
          </a:custGeom>
          <a:solidFill>
            <a:srgbClr val="0CC144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es-CL" sz="1800">
              <a:solidFill>
                <a:prstClr val="black"/>
              </a:solidFill>
            </a:endParaRPr>
          </a:p>
        </p:txBody>
      </p:sp>
      <p:sp>
        <p:nvSpPr>
          <p:cNvPr id="10" name="Rectángulo 9">
            <a:extLst>
              <a:ext uri="{FF2B5EF4-FFF2-40B4-BE49-F238E27FC236}">
                <a16:creationId xmlns="" xmlns:a16="http://schemas.microsoft.com/office/drawing/2014/main" id="{E4AD6C16-93E3-E145-953C-336B7AACA87C}"/>
              </a:ext>
            </a:extLst>
          </p:cNvPr>
          <p:cNvSpPr/>
          <p:nvPr/>
        </p:nvSpPr>
        <p:spPr>
          <a:xfrm>
            <a:off x="453749" y="440791"/>
            <a:ext cx="6280887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s-CL" sz="2000" dirty="0">
                <a:solidFill>
                  <a:srgbClr val="15C047"/>
                </a:solidFill>
                <a:latin typeface="ACHS Nueva Serif" pitchFamily="2" charset="77"/>
                <a:cs typeface="Arial" panose="020B0604020202020204" pitchFamily="34" charset="0"/>
              </a:rPr>
              <a:t>Encuesta de satisfacción – Curso  abierto presencial</a:t>
            </a:r>
          </a:p>
        </p:txBody>
      </p:sp>
      <p:pic>
        <p:nvPicPr>
          <p:cNvPr id="11" name="Imagen 10">
            <a:extLst>
              <a:ext uri="{FF2B5EF4-FFF2-40B4-BE49-F238E27FC236}">
                <a16:creationId xmlns="" xmlns:a16="http://schemas.microsoft.com/office/drawing/2014/main" id="{B6014957-C826-9C45-BC05-9121603F1D0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901" y="496800"/>
            <a:ext cx="1239633" cy="506414"/>
          </a:xfrm>
          <a:prstGeom prst="rect">
            <a:avLst/>
          </a:prstGeom>
        </p:spPr>
      </p:pic>
      <p:cxnSp>
        <p:nvCxnSpPr>
          <p:cNvPr id="12" name="Conector recto 11">
            <a:extLst>
              <a:ext uri="{FF2B5EF4-FFF2-40B4-BE49-F238E27FC236}">
                <a16:creationId xmlns="" xmlns:a16="http://schemas.microsoft.com/office/drawing/2014/main" id="{6074E660-AA37-9E45-8D6E-CAAC7EB0A77B}"/>
              </a:ext>
            </a:extLst>
          </p:cNvPr>
          <p:cNvCxnSpPr>
            <a:cxnSpLocks/>
          </p:cNvCxnSpPr>
          <p:nvPr/>
        </p:nvCxnSpPr>
        <p:spPr>
          <a:xfrm>
            <a:off x="535924" y="386604"/>
            <a:ext cx="1297221" cy="0"/>
          </a:xfrm>
          <a:prstGeom prst="line">
            <a:avLst/>
          </a:prstGeom>
          <a:noFill/>
          <a:ln w="22225" cap="flat">
            <a:solidFill>
              <a:srgbClr val="13C04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3" name="Rectángulo 12">
            <a:extLst>
              <a:ext uri="{FF2B5EF4-FFF2-40B4-BE49-F238E27FC236}">
                <a16:creationId xmlns="" xmlns:a16="http://schemas.microsoft.com/office/drawing/2014/main" id="{F0CB735D-06B5-B341-AC4F-A43926FC2125}"/>
              </a:ext>
            </a:extLst>
          </p:cNvPr>
          <p:cNvSpPr/>
          <p:nvPr/>
        </p:nvSpPr>
        <p:spPr>
          <a:xfrm>
            <a:off x="1357843" y="5488534"/>
            <a:ext cx="222018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/>
            <a:r>
              <a:rPr lang="es-CL" sz="1600" b="1" dirty="0">
                <a:solidFill>
                  <a:srgbClr val="15C047"/>
                </a:solidFill>
                <a:latin typeface="ACHS Nueva Sans" pitchFamily="2" charset="77"/>
                <a:cs typeface="Arial" panose="020B0604020202020204" pitchFamily="34" charset="0"/>
              </a:rPr>
              <a:t>Escanea este código</a:t>
            </a:r>
          </a:p>
        </p:txBody>
      </p:sp>
      <p:sp>
        <p:nvSpPr>
          <p:cNvPr id="14" name="Rectángulo 13">
            <a:extLst>
              <a:ext uri="{FF2B5EF4-FFF2-40B4-BE49-F238E27FC236}">
                <a16:creationId xmlns="" xmlns:a16="http://schemas.microsoft.com/office/drawing/2014/main" id="{94D5BD24-B25B-0348-81AE-8B0005A9356E}"/>
              </a:ext>
            </a:extLst>
          </p:cNvPr>
          <p:cNvSpPr/>
          <p:nvPr/>
        </p:nvSpPr>
        <p:spPr>
          <a:xfrm>
            <a:off x="7366876" y="5488534"/>
            <a:ext cx="222018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/>
            <a:r>
              <a:rPr lang="es-CL" sz="1600" b="1" dirty="0">
                <a:solidFill>
                  <a:srgbClr val="15C047"/>
                </a:solidFill>
                <a:latin typeface="ACHS Nueva Sans" pitchFamily="2" charset="77"/>
                <a:cs typeface="Arial" panose="020B0604020202020204" pitchFamily="34" charset="0"/>
              </a:rPr>
              <a:t>O ingresa a este link</a:t>
            </a:r>
          </a:p>
        </p:txBody>
      </p:sp>
      <p:sp>
        <p:nvSpPr>
          <p:cNvPr id="17" name="Marcador de texto 11">
            <a:extLst>
              <a:ext uri="{FF2B5EF4-FFF2-40B4-BE49-F238E27FC236}">
                <a16:creationId xmlns="" xmlns:a16="http://schemas.microsoft.com/office/drawing/2014/main" id="{792C80F6-197E-164E-929B-FF5B71010328}"/>
              </a:ext>
            </a:extLst>
          </p:cNvPr>
          <p:cNvSpPr txBox="1">
            <a:spLocks/>
          </p:cNvSpPr>
          <p:nvPr/>
        </p:nvSpPr>
        <p:spPr>
          <a:xfrm>
            <a:off x="5959246" y="2923973"/>
            <a:ext cx="4766959" cy="523875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tabLst/>
              <a:defRPr sz="17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676275" marR="0" indent="-371475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600" b="1" i="0" u="none" strike="noStrike" cap="none" spc="0" baseline="0" dirty="0" smtClean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30288" marR="0" indent="-333375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="" xmlns:asvg="http://schemas.microsoft.com/office/drawing/2016/SVG/main" r:embed="rId5"/>
                    </a:ext>
                  </a:extLst>
                </a:blip>
              </a:buBlip>
              <a:tabLst/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342232" marR="0" indent="-332582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="" xmlns:asvg="http://schemas.microsoft.com/office/drawing/2016/SVG/main" r:embed="rId5"/>
                    </a:ext>
                  </a:extLst>
                </a:blip>
              </a:buBlip>
              <a:tabLst/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675607" marR="0" indent="-364332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="" xmlns:asvg="http://schemas.microsoft.com/office/drawing/2016/SVG/main" r:embed="rId5"/>
                    </a:ext>
                  </a:extLst>
                </a:blip>
              </a:buBlip>
              <a:tabLst>
                <a:tab pos="1571625" algn="l"/>
              </a:tabLst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Clr>
                <a:srgbClr val="83B727"/>
              </a:buClr>
              <a:defRPr/>
            </a:pPr>
            <a:r>
              <a:rPr lang="es-CL" sz="2400" b="0" u="sng" kern="0" dirty="0">
                <a:solidFill>
                  <a:srgbClr val="00C42A"/>
                </a:solidFill>
                <a:latin typeface="ACHS Nueva Sans" pitchFamily="2" charset="77"/>
              </a:rPr>
              <a:t>tinyurl.com/26vbepn4</a:t>
            </a:r>
          </a:p>
        </p:txBody>
      </p:sp>
      <p:pic>
        <p:nvPicPr>
          <p:cNvPr id="18" name="Imagen 17">
            <a:extLst>
              <a:ext uri="{FF2B5EF4-FFF2-40B4-BE49-F238E27FC236}">
                <a16:creationId xmlns="" xmlns:a16="http://schemas.microsoft.com/office/drawing/2014/main" id="{34643A48-629B-8542-A236-DED458AE96D4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657913" y="2627956"/>
            <a:ext cx="1625051" cy="162887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71210512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1F0317DA-7C74-1548-9D23-0BFB8866CF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="" xmlns:a16="http://schemas.microsoft.com/office/drawing/2014/main" id="{7CC3F05D-7E38-9645-BAA9-459EE8109A5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Rectángulo 3">
            <a:extLst>
              <a:ext uri="{FF2B5EF4-FFF2-40B4-BE49-F238E27FC236}">
                <a16:creationId xmlns="" xmlns:a16="http://schemas.microsoft.com/office/drawing/2014/main" id="{52BD712E-6A3D-4342-B8CA-C4A51CDB477B}"/>
              </a:ext>
            </a:extLst>
          </p:cNvPr>
          <p:cNvSpPr/>
          <p:nvPr/>
        </p:nvSpPr>
        <p:spPr>
          <a:xfrm>
            <a:off x="794" y="0"/>
            <a:ext cx="12192000" cy="6858000"/>
          </a:xfrm>
          <a:prstGeom prst="rect">
            <a:avLst/>
          </a:prstGeom>
          <a:solidFill>
            <a:srgbClr val="EBE9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s-CL" sz="1800" dirty="0">
              <a:solidFill>
                <a:srgbClr val="13C045"/>
              </a:solidFill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="" xmlns:a16="http://schemas.microsoft.com/office/drawing/2014/main" id="{B63C7CAB-FA4F-1745-9571-70574C4DB2EB}"/>
              </a:ext>
            </a:extLst>
          </p:cNvPr>
          <p:cNvGrpSpPr>
            <a:grpSpLocks/>
          </p:cNvGrpSpPr>
          <p:nvPr/>
        </p:nvGrpSpPr>
        <p:grpSpPr bwMode="auto">
          <a:xfrm>
            <a:off x="1357843" y="1571875"/>
            <a:ext cx="2203200" cy="3715200"/>
            <a:chOff x="495" y="1002"/>
            <a:chExt cx="258" cy="473"/>
          </a:xfrm>
          <a:solidFill>
            <a:srgbClr val="0CC144"/>
          </a:solidFill>
        </p:grpSpPr>
        <p:sp>
          <p:nvSpPr>
            <p:cNvPr id="6" name="Freeform 5">
              <a:extLst>
                <a:ext uri="{FF2B5EF4-FFF2-40B4-BE49-F238E27FC236}">
                  <a16:creationId xmlns="" xmlns:a16="http://schemas.microsoft.com/office/drawing/2014/main" id="{9CBA5BF2-5B2A-484C-8814-AFFB5F9CD650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" y="1427"/>
              <a:ext cx="22" cy="21"/>
            </a:xfrm>
            <a:custGeom>
              <a:avLst/>
              <a:gdLst>
                <a:gd name="T0" fmla="*/ 18 w 36"/>
                <a:gd name="T1" fmla="*/ 35 h 35"/>
                <a:gd name="T2" fmla="*/ 18 w 36"/>
                <a:gd name="T3" fmla="*/ 35 h 35"/>
                <a:gd name="T4" fmla="*/ 36 w 36"/>
                <a:gd name="T5" fmla="*/ 17 h 35"/>
                <a:gd name="T6" fmla="*/ 18 w 36"/>
                <a:gd name="T7" fmla="*/ 0 h 35"/>
                <a:gd name="T8" fmla="*/ 0 w 36"/>
                <a:gd name="T9" fmla="*/ 17 h 35"/>
                <a:gd name="T10" fmla="*/ 18 w 36"/>
                <a:gd name="T11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" h="35">
                  <a:moveTo>
                    <a:pt x="18" y="35"/>
                  </a:moveTo>
                  <a:lnTo>
                    <a:pt x="18" y="35"/>
                  </a:lnTo>
                  <a:cubicBezTo>
                    <a:pt x="28" y="35"/>
                    <a:pt x="36" y="27"/>
                    <a:pt x="36" y="17"/>
                  </a:cubicBezTo>
                  <a:cubicBezTo>
                    <a:pt x="36" y="7"/>
                    <a:pt x="28" y="0"/>
                    <a:pt x="18" y="0"/>
                  </a:cubicBezTo>
                  <a:cubicBezTo>
                    <a:pt x="8" y="0"/>
                    <a:pt x="0" y="7"/>
                    <a:pt x="0" y="17"/>
                  </a:cubicBezTo>
                  <a:cubicBezTo>
                    <a:pt x="0" y="27"/>
                    <a:pt x="8" y="35"/>
                    <a:pt x="18" y="3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s-CL" sz="1800">
                <a:solidFill>
                  <a:prstClr val="black"/>
                </a:solidFill>
              </a:endParaRPr>
            </a:p>
          </p:txBody>
        </p:sp>
        <p:sp>
          <p:nvSpPr>
            <p:cNvPr id="7" name="Freeform 6">
              <a:extLst>
                <a:ext uri="{FF2B5EF4-FFF2-40B4-BE49-F238E27FC236}">
                  <a16:creationId xmlns="" xmlns:a16="http://schemas.microsoft.com/office/drawing/2014/main" id="{4E3359A4-44E0-1547-8EA4-A8EF46656606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" y="1035"/>
              <a:ext cx="43" cy="22"/>
            </a:xfrm>
            <a:custGeom>
              <a:avLst/>
              <a:gdLst>
                <a:gd name="T0" fmla="*/ 54 w 71"/>
                <a:gd name="T1" fmla="*/ 0 h 36"/>
                <a:gd name="T2" fmla="*/ 54 w 71"/>
                <a:gd name="T3" fmla="*/ 0 h 36"/>
                <a:gd name="T4" fmla="*/ 18 w 71"/>
                <a:gd name="T5" fmla="*/ 0 h 36"/>
                <a:gd name="T6" fmla="*/ 0 w 71"/>
                <a:gd name="T7" fmla="*/ 18 h 36"/>
                <a:gd name="T8" fmla="*/ 18 w 71"/>
                <a:gd name="T9" fmla="*/ 36 h 36"/>
                <a:gd name="T10" fmla="*/ 54 w 71"/>
                <a:gd name="T11" fmla="*/ 36 h 36"/>
                <a:gd name="T12" fmla="*/ 71 w 71"/>
                <a:gd name="T13" fmla="*/ 18 h 36"/>
                <a:gd name="T14" fmla="*/ 54 w 71"/>
                <a:gd name="T15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1" h="36">
                  <a:moveTo>
                    <a:pt x="54" y="0"/>
                  </a:moveTo>
                  <a:lnTo>
                    <a:pt x="54" y="0"/>
                  </a:lnTo>
                  <a:lnTo>
                    <a:pt x="18" y="0"/>
                  </a:lnTo>
                  <a:cubicBezTo>
                    <a:pt x="8" y="0"/>
                    <a:pt x="0" y="8"/>
                    <a:pt x="0" y="18"/>
                  </a:cubicBezTo>
                  <a:cubicBezTo>
                    <a:pt x="0" y="28"/>
                    <a:pt x="8" y="36"/>
                    <a:pt x="18" y="36"/>
                  </a:cubicBezTo>
                  <a:lnTo>
                    <a:pt x="54" y="36"/>
                  </a:lnTo>
                  <a:cubicBezTo>
                    <a:pt x="63" y="36"/>
                    <a:pt x="71" y="28"/>
                    <a:pt x="71" y="18"/>
                  </a:cubicBezTo>
                  <a:cubicBezTo>
                    <a:pt x="71" y="8"/>
                    <a:pt x="63" y="0"/>
                    <a:pt x="5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s-CL" sz="1800">
                <a:solidFill>
                  <a:prstClr val="black"/>
                </a:solidFill>
              </a:endParaRPr>
            </a:p>
          </p:txBody>
        </p:sp>
        <p:sp>
          <p:nvSpPr>
            <p:cNvPr id="8" name="Freeform 7">
              <a:extLst>
                <a:ext uri="{FF2B5EF4-FFF2-40B4-BE49-F238E27FC236}">
                  <a16:creationId xmlns="" xmlns:a16="http://schemas.microsoft.com/office/drawing/2014/main" id="{50DEDFD7-C412-3C40-AB72-78E8FFC623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5" y="1002"/>
              <a:ext cx="258" cy="473"/>
            </a:xfrm>
            <a:custGeom>
              <a:avLst/>
              <a:gdLst>
                <a:gd name="T0" fmla="*/ 390 w 418"/>
                <a:gd name="T1" fmla="*/ 105 h 772"/>
                <a:gd name="T2" fmla="*/ 390 w 418"/>
                <a:gd name="T3" fmla="*/ 105 h 772"/>
                <a:gd name="T4" fmla="*/ 27 w 418"/>
                <a:gd name="T5" fmla="*/ 105 h 772"/>
                <a:gd name="T6" fmla="*/ 27 w 418"/>
                <a:gd name="T7" fmla="*/ 66 h 772"/>
                <a:gd name="T8" fmla="*/ 67 w 418"/>
                <a:gd name="T9" fmla="*/ 27 h 772"/>
                <a:gd name="T10" fmla="*/ 351 w 418"/>
                <a:gd name="T11" fmla="*/ 27 h 772"/>
                <a:gd name="T12" fmla="*/ 390 w 418"/>
                <a:gd name="T13" fmla="*/ 66 h 772"/>
                <a:gd name="T14" fmla="*/ 390 w 418"/>
                <a:gd name="T15" fmla="*/ 105 h 772"/>
                <a:gd name="T16" fmla="*/ 390 w 418"/>
                <a:gd name="T17" fmla="*/ 638 h 772"/>
                <a:gd name="T18" fmla="*/ 390 w 418"/>
                <a:gd name="T19" fmla="*/ 638 h 772"/>
                <a:gd name="T20" fmla="*/ 27 w 418"/>
                <a:gd name="T21" fmla="*/ 638 h 772"/>
                <a:gd name="T22" fmla="*/ 27 w 418"/>
                <a:gd name="T23" fmla="*/ 133 h 772"/>
                <a:gd name="T24" fmla="*/ 390 w 418"/>
                <a:gd name="T25" fmla="*/ 133 h 772"/>
                <a:gd name="T26" fmla="*/ 390 w 418"/>
                <a:gd name="T27" fmla="*/ 638 h 772"/>
                <a:gd name="T28" fmla="*/ 390 w 418"/>
                <a:gd name="T29" fmla="*/ 705 h 772"/>
                <a:gd name="T30" fmla="*/ 390 w 418"/>
                <a:gd name="T31" fmla="*/ 705 h 772"/>
                <a:gd name="T32" fmla="*/ 351 w 418"/>
                <a:gd name="T33" fmla="*/ 745 h 772"/>
                <a:gd name="T34" fmla="*/ 67 w 418"/>
                <a:gd name="T35" fmla="*/ 745 h 772"/>
                <a:gd name="T36" fmla="*/ 27 w 418"/>
                <a:gd name="T37" fmla="*/ 705 h 772"/>
                <a:gd name="T38" fmla="*/ 27 w 418"/>
                <a:gd name="T39" fmla="*/ 666 h 772"/>
                <a:gd name="T40" fmla="*/ 390 w 418"/>
                <a:gd name="T41" fmla="*/ 666 h 772"/>
                <a:gd name="T42" fmla="*/ 390 w 418"/>
                <a:gd name="T43" fmla="*/ 705 h 772"/>
                <a:gd name="T44" fmla="*/ 351 w 418"/>
                <a:gd name="T45" fmla="*/ 0 h 772"/>
                <a:gd name="T46" fmla="*/ 351 w 418"/>
                <a:gd name="T47" fmla="*/ 0 h 772"/>
                <a:gd name="T48" fmla="*/ 67 w 418"/>
                <a:gd name="T49" fmla="*/ 0 h 772"/>
                <a:gd name="T50" fmla="*/ 0 w 418"/>
                <a:gd name="T51" fmla="*/ 66 h 772"/>
                <a:gd name="T52" fmla="*/ 0 w 418"/>
                <a:gd name="T53" fmla="*/ 705 h 772"/>
                <a:gd name="T54" fmla="*/ 67 w 418"/>
                <a:gd name="T55" fmla="*/ 772 h 772"/>
                <a:gd name="T56" fmla="*/ 351 w 418"/>
                <a:gd name="T57" fmla="*/ 772 h 772"/>
                <a:gd name="T58" fmla="*/ 418 w 418"/>
                <a:gd name="T59" fmla="*/ 705 h 772"/>
                <a:gd name="T60" fmla="*/ 418 w 418"/>
                <a:gd name="T61" fmla="*/ 66 h 772"/>
                <a:gd name="T62" fmla="*/ 351 w 418"/>
                <a:gd name="T63" fmla="*/ 0 h 7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8" h="772">
                  <a:moveTo>
                    <a:pt x="390" y="105"/>
                  </a:moveTo>
                  <a:lnTo>
                    <a:pt x="390" y="105"/>
                  </a:lnTo>
                  <a:lnTo>
                    <a:pt x="27" y="105"/>
                  </a:lnTo>
                  <a:lnTo>
                    <a:pt x="27" y="66"/>
                  </a:lnTo>
                  <a:cubicBezTo>
                    <a:pt x="27" y="44"/>
                    <a:pt x="45" y="27"/>
                    <a:pt x="67" y="27"/>
                  </a:cubicBezTo>
                  <a:lnTo>
                    <a:pt x="351" y="27"/>
                  </a:lnTo>
                  <a:cubicBezTo>
                    <a:pt x="372" y="27"/>
                    <a:pt x="390" y="44"/>
                    <a:pt x="390" y="66"/>
                  </a:cubicBezTo>
                  <a:lnTo>
                    <a:pt x="390" y="105"/>
                  </a:lnTo>
                  <a:close/>
                  <a:moveTo>
                    <a:pt x="390" y="638"/>
                  </a:moveTo>
                  <a:lnTo>
                    <a:pt x="390" y="638"/>
                  </a:lnTo>
                  <a:lnTo>
                    <a:pt x="27" y="638"/>
                  </a:lnTo>
                  <a:lnTo>
                    <a:pt x="27" y="133"/>
                  </a:lnTo>
                  <a:lnTo>
                    <a:pt x="390" y="133"/>
                  </a:lnTo>
                  <a:lnTo>
                    <a:pt x="390" y="638"/>
                  </a:lnTo>
                  <a:close/>
                  <a:moveTo>
                    <a:pt x="390" y="705"/>
                  </a:moveTo>
                  <a:lnTo>
                    <a:pt x="390" y="705"/>
                  </a:lnTo>
                  <a:cubicBezTo>
                    <a:pt x="390" y="727"/>
                    <a:pt x="372" y="745"/>
                    <a:pt x="351" y="745"/>
                  </a:cubicBezTo>
                  <a:lnTo>
                    <a:pt x="67" y="745"/>
                  </a:lnTo>
                  <a:cubicBezTo>
                    <a:pt x="45" y="745"/>
                    <a:pt x="27" y="727"/>
                    <a:pt x="27" y="705"/>
                  </a:cubicBezTo>
                  <a:lnTo>
                    <a:pt x="27" y="666"/>
                  </a:lnTo>
                  <a:lnTo>
                    <a:pt x="390" y="666"/>
                  </a:lnTo>
                  <a:lnTo>
                    <a:pt x="390" y="705"/>
                  </a:lnTo>
                  <a:close/>
                  <a:moveTo>
                    <a:pt x="351" y="0"/>
                  </a:moveTo>
                  <a:lnTo>
                    <a:pt x="351" y="0"/>
                  </a:lnTo>
                  <a:lnTo>
                    <a:pt x="67" y="0"/>
                  </a:lnTo>
                  <a:cubicBezTo>
                    <a:pt x="30" y="0"/>
                    <a:pt x="0" y="29"/>
                    <a:pt x="0" y="66"/>
                  </a:cubicBezTo>
                  <a:lnTo>
                    <a:pt x="0" y="705"/>
                  </a:lnTo>
                  <a:cubicBezTo>
                    <a:pt x="0" y="742"/>
                    <a:pt x="30" y="772"/>
                    <a:pt x="67" y="772"/>
                  </a:cubicBezTo>
                  <a:lnTo>
                    <a:pt x="351" y="772"/>
                  </a:lnTo>
                  <a:cubicBezTo>
                    <a:pt x="388" y="772"/>
                    <a:pt x="418" y="742"/>
                    <a:pt x="418" y="705"/>
                  </a:cubicBezTo>
                  <a:lnTo>
                    <a:pt x="418" y="66"/>
                  </a:lnTo>
                  <a:cubicBezTo>
                    <a:pt x="418" y="29"/>
                    <a:pt x="388" y="0"/>
                    <a:pt x="351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s-CL" sz="1800" dirty="0">
                <a:solidFill>
                  <a:prstClr val="black"/>
                </a:solidFill>
              </a:endParaRPr>
            </a:p>
          </p:txBody>
        </p:sp>
      </p:grpSp>
      <p:sp>
        <p:nvSpPr>
          <p:cNvPr id="9" name="Freeform 22">
            <a:extLst>
              <a:ext uri="{FF2B5EF4-FFF2-40B4-BE49-F238E27FC236}">
                <a16:creationId xmlns="" xmlns:a16="http://schemas.microsoft.com/office/drawing/2014/main" id="{255B9AF1-52CC-2343-85D3-3845CBB0F8CC}"/>
              </a:ext>
            </a:extLst>
          </p:cNvPr>
          <p:cNvSpPr>
            <a:spLocks noEditPoints="1"/>
          </p:cNvSpPr>
          <p:nvPr/>
        </p:nvSpPr>
        <p:spPr bwMode="auto">
          <a:xfrm>
            <a:off x="5593557" y="1641600"/>
            <a:ext cx="5284800" cy="3574800"/>
          </a:xfrm>
          <a:custGeom>
            <a:avLst/>
            <a:gdLst>
              <a:gd name="T0" fmla="*/ 43 w 847"/>
              <a:gd name="T1" fmla="*/ 582 h 613"/>
              <a:gd name="T2" fmla="*/ 43 w 847"/>
              <a:gd name="T3" fmla="*/ 582 h 613"/>
              <a:gd name="T4" fmla="*/ 102 w 847"/>
              <a:gd name="T5" fmla="*/ 494 h 613"/>
              <a:gd name="T6" fmla="*/ 105 w 847"/>
              <a:gd name="T7" fmla="*/ 495 h 613"/>
              <a:gd name="T8" fmla="*/ 112 w 847"/>
              <a:gd name="T9" fmla="*/ 496 h 613"/>
              <a:gd name="T10" fmla="*/ 734 w 847"/>
              <a:gd name="T11" fmla="*/ 496 h 613"/>
              <a:gd name="T12" fmla="*/ 741 w 847"/>
              <a:gd name="T13" fmla="*/ 495 h 613"/>
              <a:gd name="T14" fmla="*/ 744 w 847"/>
              <a:gd name="T15" fmla="*/ 494 h 613"/>
              <a:gd name="T16" fmla="*/ 746 w 847"/>
              <a:gd name="T17" fmla="*/ 496 h 613"/>
              <a:gd name="T18" fmla="*/ 803 w 847"/>
              <a:gd name="T19" fmla="*/ 582 h 613"/>
              <a:gd name="T20" fmla="*/ 43 w 847"/>
              <a:gd name="T21" fmla="*/ 582 h 613"/>
              <a:gd name="T22" fmla="*/ 108 w 847"/>
              <a:gd name="T23" fmla="*/ 29 h 613"/>
              <a:gd name="T24" fmla="*/ 108 w 847"/>
              <a:gd name="T25" fmla="*/ 29 h 613"/>
              <a:gd name="T26" fmla="*/ 738 w 847"/>
              <a:gd name="T27" fmla="*/ 29 h 613"/>
              <a:gd name="T28" fmla="*/ 738 w 847"/>
              <a:gd name="T29" fmla="*/ 465 h 613"/>
              <a:gd name="T30" fmla="*/ 108 w 847"/>
              <a:gd name="T31" fmla="*/ 465 h 613"/>
              <a:gd name="T32" fmla="*/ 108 w 847"/>
              <a:gd name="T33" fmla="*/ 29 h 613"/>
              <a:gd name="T34" fmla="*/ 844 w 847"/>
              <a:gd name="T35" fmla="*/ 589 h 613"/>
              <a:gd name="T36" fmla="*/ 844 w 847"/>
              <a:gd name="T37" fmla="*/ 589 h 613"/>
              <a:gd name="T38" fmla="*/ 842 w 847"/>
              <a:gd name="T39" fmla="*/ 585 h 613"/>
              <a:gd name="T40" fmla="*/ 842 w 847"/>
              <a:gd name="T41" fmla="*/ 585 h 613"/>
              <a:gd name="T42" fmla="*/ 767 w 847"/>
              <a:gd name="T43" fmla="*/ 473 h 613"/>
              <a:gd name="T44" fmla="*/ 767 w 847"/>
              <a:gd name="T45" fmla="*/ 471 h 613"/>
              <a:gd name="T46" fmla="*/ 769 w 847"/>
              <a:gd name="T47" fmla="*/ 461 h 613"/>
              <a:gd name="T48" fmla="*/ 769 w 847"/>
              <a:gd name="T49" fmla="*/ 33 h 613"/>
              <a:gd name="T50" fmla="*/ 734 w 847"/>
              <a:gd name="T51" fmla="*/ 0 h 613"/>
              <a:gd name="T52" fmla="*/ 112 w 847"/>
              <a:gd name="T53" fmla="*/ 0 h 613"/>
              <a:gd name="T54" fmla="*/ 77 w 847"/>
              <a:gd name="T55" fmla="*/ 33 h 613"/>
              <a:gd name="T56" fmla="*/ 77 w 847"/>
              <a:gd name="T57" fmla="*/ 461 h 613"/>
              <a:gd name="T58" fmla="*/ 79 w 847"/>
              <a:gd name="T59" fmla="*/ 471 h 613"/>
              <a:gd name="T60" fmla="*/ 79 w 847"/>
              <a:gd name="T61" fmla="*/ 473 h 613"/>
              <a:gd name="T62" fmla="*/ 4 w 847"/>
              <a:gd name="T63" fmla="*/ 585 h 613"/>
              <a:gd name="T64" fmla="*/ 4 w 847"/>
              <a:gd name="T65" fmla="*/ 585 h 613"/>
              <a:gd name="T66" fmla="*/ 2 w 847"/>
              <a:gd name="T67" fmla="*/ 589 h 613"/>
              <a:gd name="T68" fmla="*/ 0 w 847"/>
              <a:gd name="T69" fmla="*/ 597 h 613"/>
              <a:gd name="T70" fmla="*/ 15 w 847"/>
              <a:gd name="T71" fmla="*/ 613 h 613"/>
              <a:gd name="T72" fmla="*/ 831 w 847"/>
              <a:gd name="T73" fmla="*/ 613 h 613"/>
              <a:gd name="T74" fmla="*/ 847 w 847"/>
              <a:gd name="T75" fmla="*/ 597 h 613"/>
              <a:gd name="T76" fmla="*/ 844 w 847"/>
              <a:gd name="T77" fmla="*/ 589 h 6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847" h="613">
                <a:moveTo>
                  <a:pt x="43" y="582"/>
                </a:moveTo>
                <a:lnTo>
                  <a:pt x="43" y="582"/>
                </a:lnTo>
                <a:lnTo>
                  <a:pt x="102" y="494"/>
                </a:lnTo>
                <a:lnTo>
                  <a:pt x="105" y="495"/>
                </a:lnTo>
                <a:cubicBezTo>
                  <a:pt x="108" y="495"/>
                  <a:pt x="110" y="496"/>
                  <a:pt x="112" y="496"/>
                </a:cubicBezTo>
                <a:lnTo>
                  <a:pt x="734" y="496"/>
                </a:lnTo>
                <a:cubicBezTo>
                  <a:pt x="736" y="496"/>
                  <a:pt x="739" y="495"/>
                  <a:pt x="741" y="495"/>
                </a:cubicBezTo>
                <a:lnTo>
                  <a:pt x="744" y="494"/>
                </a:lnTo>
                <a:lnTo>
                  <a:pt x="746" y="496"/>
                </a:lnTo>
                <a:lnTo>
                  <a:pt x="803" y="582"/>
                </a:lnTo>
                <a:lnTo>
                  <a:pt x="43" y="582"/>
                </a:lnTo>
                <a:close/>
                <a:moveTo>
                  <a:pt x="108" y="29"/>
                </a:moveTo>
                <a:lnTo>
                  <a:pt x="108" y="29"/>
                </a:lnTo>
                <a:lnTo>
                  <a:pt x="738" y="29"/>
                </a:lnTo>
                <a:lnTo>
                  <a:pt x="738" y="465"/>
                </a:lnTo>
                <a:lnTo>
                  <a:pt x="108" y="465"/>
                </a:lnTo>
                <a:lnTo>
                  <a:pt x="108" y="29"/>
                </a:lnTo>
                <a:close/>
                <a:moveTo>
                  <a:pt x="844" y="589"/>
                </a:moveTo>
                <a:lnTo>
                  <a:pt x="844" y="589"/>
                </a:lnTo>
                <a:lnTo>
                  <a:pt x="842" y="585"/>
                </a:lnTo>
                <a:lnTo>
                  <a:pt x="842" y="585"/>
                </a:lnTo>
                <a:lnTo>
                  <a:pt x="767" y="473"/>
                </a:lnTo>
                <a:lnTo>
                  <a:pt x="767" y="471"/>
                </a:lnTo>
                <a:cubicBezTo>
                  <a:pt x="768" y="467"/>
                  <a:pt x="769" y="464"/>
                  <a:pt x="769" y="461"/>
                </a:cubicBezTo>
                <a:lnTo>
                  <a:pt x="769" y="33"/>
                </a:lnTo>
                <a:cubicBezTo>
                  <a:pt x="769" y="14"/>
                  <a:pt x="753" y="0"/>
                  <a:pt x="734" y="0"/>
                </a:cubicBezTo>
                <a:lnTo>
                  <a:pt x="112" y="0"/>
                </a:lnTo>
                <a:cubicBezTo>
                  <a:pt x="93" y="0"/>
                  <a:pt x="77" y="14"/>
                  <a:pt x="77" y="33"/>
                </a:cubicBezTo>
                <a:lnTo>
                  <a:pt x="77" y="461"/>
                </a:lnTo>
                <a:cubicBezTo>
                  <a:pt x="77" y="464"/>
                  <a:pt x="78" y="467"/>
                  <a:pt x="79" y="471"/>
                </a:cubicBezTo>
                <a:lnTo>
                  <a:pt x="79" y="473"/>
                </a:lnTo>
                <a:lnTo>
                  <a:pt x="4" y="585"/>
                </a:lnTo>
                <a:lnTo>
                  <a:pt x="4" y="585"/>
                </a:lnTo>
                <a:lnTo>
                  <a:pt x="2" y="589"/>
                </a:lnTo>
                <a:cubicBezTo>
                  <a:pt x="0" y="592"/>
                  <a:pt x="0" y="595"/>
                  <a:pt x="0" y="597"/>
                </a:cubicBezTo>
                <a:cubicBezTo>
                  <a:pt x="0" y="606"/>
                  <a:pt x="6" y="613"/>
                  <a:pt x="15" y="613"/>
                </a:cubicBezTo>
                <a:lnTo>
                  <a:pt x="831" y="613"/>
                </a:lnTo>
                <a:cubicBezTo>
                  <a:pt x="840" y="613"/>
                  <a:pt x="847" y="606"/>
                  <a:pt x="847" y="597"/>
                </a:cubicBezTo>
                <a:cubicBezTo>
                  <a:pt x="847" y="595"/>
                  <a:pt x="846" y="592"/>
                  <a:pt x="844" y="589"/>
                </a:cubicBezTo>
                <a:close/>
              </a:path>
            </a:pathLst>
          </a:custGeom>
          <a:solidFill>
            <a:srgbClr val="0CC144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es-CL" sz="1800">
              <a:solidFill>
                <a:prstClr val="black"/>
              </a:solidFill>
            </a:endParaRPr>
          </a:p>
        </p:txBody>
      </p:sp>
      <p:sp>
        <p:nvSpPr>
          <p:cNvPr id="10" name="Rectángulo 9">
            <a:extLst>
              <a:ext uri="{FF2B5EF4-FFF2-40B4-BE49-F238E27FC236}">
                <a16:creationId xmlns="" xmlns:a16="http://schemas.microsoft.com/office/drawing/2014/main" id="{52DB2E02-B54A-514F-BDA4-EFDA7F802CB0}"/>
              </a:ext>
            </a:extLst>
          </p:cNvPr>
          <p:cNvSpPr/>
          <p:nvPr/>
        </p:nvSpPr>
        <p:spPr>
          <a:xfrm>
            <a:off x="474056" y="411644"/>
            <a:ext cx="633057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s-CL" sz="2000" dirty="0">
                <a:solidFill>
                  <a:srgbClr val="15C047"/>
                </a:solidFill>
                <a:latin typeface="ACHS Nueva Serif" pitchFamily="2" charset="77"/>
                <a:cs typeface="Arial" panose="020B0604020202020204" pitchFamily="34" charset="0"/>
              </a:rPr>
              <a:t>Encuesta de satisfacción – Curso  cerrado presencial</a:t>
            </a:r>
          </a:p>
        </p:txBody>
      </p:sp>
      <p:pic>
        <p:nvPicPr>
          <p:cNvPr id="11" name="Imagen 10">
            <a:extLst>
              <a:ext uri="{FF2B5EF4-FFF2-40B4-BE49-F238E27FC236}">
                <a16:creationId xmlns="" xmlns:a16="http://schemas.microsoft.com/office/drawing/2014/main" id="{F7E0F5A1-98C2-AD4B-8707-ABC2A7D517A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901" y="496800"/>
            <a:ext cx="1239633" cy="506414"/>
          </a:xfrm>
          <a:prstGeom prst="rect">
            <a:avLst/>
          </a:prstGeom>
        </p:spPr>
      </p:pic>
      <p:cxnSp>
        <p:nvCxnSpPr>
          <p:cNvPr id="12" name="Conector recto 11">
            <a:extLst>
              <a:ext uri="{FF2B5EF4-FFF2-40B4-BE49-F238E27FC236}">
                <a16:creationId xmlns="" xmlns:a16="http://schemas.microsoft.com/office/drawing/2014/main" id="{A9D57230-4199-4046-BF66-AFC00D33CA09}"/>
              </a:ext>
            </a:extLst>
          </p:cNvPr>
          <p:cNvCxnSpPr>
            <a:cxnSpLocks/>
          </p:cNvCxnSpPr>
          <p:nvPr/>
        </p:nvCxnSpPr>
        <p:spPr>
          <a:xfrm>
            <a:off x="535924" y="386604"/>
            <a:ext cx="1297221" cy="0"/>
          </a:xfrm>
          <a:prstGeom prst="line">
            <a:avLst/>
          </a:prstGeom>
          <a:noFill/>
          <a:ln w="22225" cap="flat">
            <a:solidFill>
              <a:srgbClr val="13C04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3" name="Rectángulo 12">
            <a:extLst>
              <a:ext uri="{FF2B5EF4-FFF2-40B4-BE49-F238E27FC236}">
                <a16:creationId xmlns="" xmlns:a16="http://schemas.microsoft.com/office/drawing/2014/main" id="{86BC6BC7-E20A-9247-A50E-0570BBC7EEAE}"/>
              </a:ext>
            </a:extLst>
          </p:cNvPr>
          <p:cNvSpPr/>
          <p:nvPr/>
        </p:nvSpPr>
        <p:spPr>
          <a:xfrm>
            <a:off x="1357843" y="5488534"/>
            <a:ext cx="222018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/>
            <a:r>
              <a:rPr lang="es-CL" sz="1600" b="1" dirty="0">
                <a:solidFill>
                  <a:srgbClr val="15C047"/>
                </a:solidFill>
                <a:latin typeface="ACHS Nueva Sans" pitchFamily="2" charset="77"/>
                <a:cs typeface="Arial" panose="020B0604020202020204" pitchFamily="34" charset="0"/>
              </a:rPr>
              <a:t>Escanea este código</a:t>
            </a:r>
          </a:p>
        </p:txBody>
      </p:sp>
      <p:sp>
        <p:nvSpPr>
          <p:cNvPr id="14" name="Rectángulo 13">
            <a:extLst>
              <a:ext uri="{FF2B5EF4-FFF2-40B4-BE49-F238E27FC236}">
                <a16:creationId xmlns="" xmlns:a16="http://schemas.microsoft.com/office/drawing/2014/main" id="{E086CC3D-33B0-3144-9EF3-77898E9C108B}"/>
              </a:ext>
            </a:extLst>
          </p:cNvPr>
          <p:cNvSpPr/>
          <p:nvPr/>
        </p:nvSpPr>
        <p:spPr>
          <a:xfrm>
            <a:off x="7366876" y="5488534"/>
            <a:ext cx="222018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/>
            <a:r>
              <a:rPr lang="es-CL" sz="1600" b="1" dirty="0">
                <a:solidFill>
                  <a:srgbClr val="15C047"/>
                </a:solidFill>
                <a:latin typeface="ACHS Nueva Sans" pitchFamily="2" charset="77"/>
                <a:cs typeface="Arial" panose="020B0604020202020204" pitchFamily="34" charset="0"/>
              </a:rPr>
              <a:t>O ingresa a este link</a:t>
            </a:r>
          </a:p>
        </p:txBody>
      </p:sp>
      <p:sp>
        <p:nvSpPr>
          <p:cNvPr id="17" name="Marcador de texto 11">
            <a:extLst>
              <a:ext uri="{FF2B5EF4-FFF2-40B4-BE49-F238E27FC236}">
                <a16:creationId xmlns="" xmlns:a16="http://schemas.microsoft.com/office/drawing/2014/main" id="{72A2680E-4576-5A4B-A104-46E1C4C9804A}"/>
              </a:ext>
            </a:extLst>
          </p:cNvPr>
          <p:cNvSpPr txBox="1">
            <a:spLocks/>
          </p:cNvSpPr>
          <p:nvPr/>
        </p:nvSpPr>
        <p:spPr>
          <a:xfrm>
            <a:off x="5852478" y="2967164"/>
            <a:ext cx="4766959" cy="523875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tabLst/>
              <a:defRPr sz="17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676275" marR="0" indent="-371475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600" b="1" i="0" u="none" strike="noStrike" cap="none" spc="0" baseline="0" dirty="0" smtClean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30288" marR="0" indent="-333375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="" xmlns:asvg="http://schemas.microsoft.com/office/drawing/2016/SVG/main" r:embed="rId5"/>
                    </a:ext>
                  </a:extLst>
                </a:blip>
              </a:buBlip>
              <a:tabLst/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342232" marR="0" indent="-332582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="" xmlns:asvg="http://schemas.microsoft.com/office/drawing/2016/SVG/main" r:embed="rId5"/>
                    </a:ext>
                  </a:extLst>
                </a:blip>
              </a:buBlip>
              <a:tabLst/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675607" marR="0" indent="-364332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="" xmlns:asvg="http://schemas.microsoft.com/office/drawing/2016/SVG/main" r:embed="rId5"/>
                    </a:ext>
                  </a:extLst>
                </a:blip>
              </a:buBlip>
              <a:tabLst>
                <a:tab pos="1571625" algn="l"/>
              </a:tabLst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Clr>
                <a:srgbClr val="83B727"/>
              </a:buClr>
              <a:defRPr/>
            </a:pPr>
            <a:r>
              <a:rPr lang="es-CL" sz="2400" b="0" u="sng" kern="0" dirty="0">
                <a:solidFill>
                  <a:srgbClr val="00C42A"/>
                </a:solidFill>
                <a:latin typeface="ACHS Nueva Sans Medium" pitchFamily="2" charset="77"/>
              </a:rPr>
              <a:t>tinyurl.</a:t>
            </a:r>
            <a:r>
              <a:rPr lang="es-CL" sz="2400" b="0" u="sng" kern="0" dirty="0">
                <a:solidFill>
                  <a:srgbClr val="00C42A"/>
                </a:solidFill>
                <a:latin typeface="ACHS Nueva Sans" pitchFamily="2" charset="77"/>
              </a:rPr>
              <a:t>com</a:t>
            </a:r>
            <a:r>
              <a:rPr lang="es-CL" sz="2400" b="0" u="sng" kern="0" dirty="0">
                <a:solidFill>
                  <a:srgbClr val="00C42A"/>
                </a:solidFill>
                <a:latin typeface="ACHS Nueva Sans Medium" pitchFamily="2" charset="77"/>
              </a:rPr>
              <a:t>/</a:t>
            </a:r>
            <a:r>
              <a:rPr lang="es-CL" sz="2400" b="0" u="sng" kern="0" dirty="0" err="1">
                <a:solidFill>
                  <a:srgbClr val="00C42A"/>
                </a:solidFill>
                <a:latin typeface="ACHS Nueva Sans Medium" pitchFamily="2" charset="77"/>
              </a:rPr>
              <a:t>ujnzkjew</a:t>
            </a:r>
            <a:endParaRPr lang="es-CL" sz="2400" b="0" u="sng" kern="0" dirty="0">
              <a:solidFill>
                <a:srgbClr val="00C42A"/>
              </a:solidFill>
              <a:latin typeface="ACHS Nueva Sans Medium" pitchFamily="2" charset="77"/>
            </a:endParaRPr>
          </a:p>
        </p:txBody>
      </p:sp>
      <p:pic>
        <p:nvPicPr>
          <p:cNvPr id="18" name="Imagen 17">
            <a:extLst>
              <a:ext uri="{FF2B5EF4-FFF2-40B4-BE49-F238E27FC236}">
                <a16:creationId xmlns="" xmlns:a16="http://schemas.microsoft.com/office/drawing/2014/main" id="{2702EFA0-33F1-4245-8373-7B1B273255C4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634475" y="2590800"/>
            <a:ext cx="1657927" cy="16764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06835511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2004" y="1210"/>
          <a:ext cx="1210" cy="12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0873" name="Diapositiva de think-cell" r:id="rId6" imgW="415" imgH="416" progId="TCLayout.ActiveDocument.1">
                  <p:embed/>
                </p:oleObj>
              </mc:Choice>
              <mc:Fallback>
                <p:oleObj name="Diapositiva de think-cell" r:id="rId6" imgW="415" imgH="416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004" y="1210"/>
                        <a:ext cx="1210" cy="121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Imagen 1"/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563" r="727"/>
          <a:stretch/>
        </p:blipFill>
        <p:spPr>
          <a:xfrm>
            <a:off x="4501011" y="1455995"/>
            <a:ext cx="7708578" cy="5402006"/>
          </a:xfrm>
          <a:prstGeom prst="rect">
            <a:avLst/>
          </a:prstGeom>
        </p:spPr>
      </p:pic>
      <p:pic>
        <p:nvPicPr>
          <p:cNvPr id="10" name="Imagen 5">
            <a:extLst>
              <a:ext uri="{FF2B5EF4-FFF2-40B4-BE49-F238E27FC236}">
                <a16:creationId xmlns:a16="http://schemas.microsoft.com/office/drawing/2014/main" xmlns="" id="{EA52E553-EA29-4541-9DA1-7E6C7A61BBC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56681" y="497023"/>
            <a:ext cx="1239794" cy="506480"/>
          </a:xfrm>
          <a:prstGeom prst="rect">
            <a:avLst/>
          </a:prstGeom>
        </p:spPr>
      </p:pic>
      <p:sp>
        <p:nvSpPr>
          <p:cNvPr id="11" name="Título 30">
            <a:extLst>
              <a:ext uri="{FF2B5EF4-FFF2-40B4-BE49-F238E27FC236}">
                <a16:creationId xmlns:a16="http://schemas.microsoft.com/office/drawing/2014/main" xmlns="" id="{76C06FEB-F96A-8345-9B80-5EBDDF2590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550" y="588058"/>
            <a:ext cx="5312220" cy="464608"/>
          </a:xfrm>
        </p:spPr>
        <p:txBody>
          <a:bodyPr vert="horz"/>
          <a:lstStyle/>
          <a:p>
            <a:r>
              <a:rPr lang="es-CL" sz="2000" b="0" dirty="0">
                <a:solidFill>
                  <a:srgbClr val="15BF45"/>
                </a:solidFill>
                <a:latin typeface="ACHS Nueva Serif" pitchFamily="2" charset="77"/>
              </a:rPr>
              <a:t>Introducción</a:t>
            </a:r>
          </a:p>
        </p:txBody>
      </p:sp>
      <p:sp>
        <p:nvSpPr>
          <p:cNvPr id="13" name="Marcador de texto 31">
            <a:extLst>
              <a:ext uri="{FF2B5EF4-FFF2-40B4-BE49-F238E27FC236}">
                <a16:creationId xmlns:a16="http://schemas.microsoft.com/office/drawing/2014/main" xmlns="" id="{9C555DC3-A771-8542-AE94-007338049A66}"/>
              </a:ext>
            </a:extLst>
          </p:cNvPr>
          <p:cNvSpPr txBox="1">
            <a:spLocks/>
          </p:cNvSpPr>
          <p:nvPr/>
        </p:nvSpPr>
        <p:spPr>
          <a:xfrm>
            <a:off x="568550" y="1455995"/>
            <a:ext cx="3433449" cy="5478552"/>
          </a:xfrm>
          <a:prstGeom prst="rect">
            <a:avLst/>
          </a:prstGeom>
        </p:spPr>
        <p:txBody>
          <a:bodyPr>
            <a:norm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r>
              <a:rPr lang="es-CL" altLang="es-CL" sz="1600" kern="0" dirty="0">
                <a:latin typeface="ACHS Nueva Sans Medium" pitchFamily="2" charset="77"/>
              </a:rPr>
              <a:t>El realizar trabajos de moldaje es una de las actividades más riesgosas en el rubro Construcción, por la exposición a caídas de altura de los trabajadores, generando la mayor cantidad de accidentes con consecuencias graves o fatales, debido a la energía con la que impactan  los cuerpos, producto de la caída libre.</a:t>
            </a:r>
            <a:endParaRPr lang="es-ES" altLang="es-CL" sz="1600" kern="0" dirty="0"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altLang="es-CL" sz="1600" kern="0" dirty="0"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altLang="es-CL" sz="1600" kern="0" dirty="0"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altLang="es-CL" sz="1600" kern="0" dirty="0"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sz="1600" kern="0" dirty="0"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sz="1600" kern="0" dirty="0">
              <a:latin typeface="ACHS Nueva Sans Medium" pitchFamily="2" charset="77"/>
            </a:endParaRPr>
          </a:p>
        </p:txBody>
      </p:sp>
      <p:cxnSp>
        <p:nvCxnSpPr>
          <p:cNvPr id="14" name="Conector recto 6">
            <a:extLst>
              <a:ext uri="{FF2B5EF4-FFF2-40B4-BE49-F238E27FC236}">
                <a16:creationId xmlns:a16="http://schemas.microsoft.com/office/drawing/2014/main" xmlns="" id="{7BC3FEAA-BA94-6F48-A124-0281819097C6}"/>
              </a:ext>
            </a:extLst>
          </p:cNvPr>
          <p:cNvCxnSpPr/>
          <p:nvPr/>
        </p:nvCxnSpPr>
        <p:spPr>
          <a:xfrm>
            <a:off x="511867" y="363806"/>
            <a:ext cx="1629316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custDataLst>
      <p:tags r:id="rId2"/>
    </p:custDataLst>
    <p:extLst>
      <p:ext uri="{BB962C8B-B14F-4D97-AF65-F5344CB8AC3E}">
        <p14:creationId xmlns:p14="http://schemas.microsoft.com/office/powerpoint/2010/main" val="358541662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1"/>
    </p:custDataLst>
    <p:extLst>
      <p:ext uri="{BB962C8B-B14F-4D97-AF65-F5344CB8AC3E}">
        <p14:creationId xmlns:p14="http://schemas.microsoft.com/office/powerpoint/2010/main" val="2433836936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3 Imagen" descr="DSC_1153.JPG"/>
          <p:cNvPicPr preferRelativeResize="0">
            <a:picLocks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0675" b="29871"/>
          <a:stretch/>
        </p:blipFill>
        <p:spPr bwMode="auto">
          <a:xfrm>
            <a:off x="4526173" y="1483379"/>
            <a:ext cx="7708578" cy="540200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noFill/>
            <a:miter lim="800000"/>
          </a:ln>
          <a:effectLst/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939211191"/>
              </p:ext>
            </p:extLst>
          </p:nvPr>
        </p:nvGraphicFramePr>
        <p:xfrm>
          <a:off x="2004" y="1210"/>
          <a:ext cx="1210" cy="12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811" name="Diapositiva de think-cell" r:id="rId7" imgW="415" imgH="416" progId="TCLayout.ActiveDocument.1">
                  <p:embed/>
                </p:oleObj>
              </mc:Choice>
              <mc:Fallback>
                <p:oleObj name="Diapositiva de think-cell" r:id="rId7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004" y="1210"/>
                        <a:ext cx="1210" cy="121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Título 30">
            <a:extLst>
              <a:ext uri="{FF2B5EF4-FFF2-40B4-BE49-F238E27FC236}">
                <a16:creationId xmlns:a16="http://schemas.microsoft.com/office/drawing/2014/main" xmlns="" id="{80832A9A-ADDB-E845-8443-9D1670CD83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550" y="719469"/>
            <a:ext cx="5433730" cy="464608"/>
          </a:xfrm>
        </p:spPr>
        <p:txBody>
          <a:bodyPr vert="horz">
            <a:normAutofit fontScale="90000"/>
          </a:bodyPr>
          <a:lstStyle/>
          <a:p>
            <a:pPr>
              <a:lnSpc>
                <a:spcPct val="100000"/>
              </a:lnSpc>
            </a:pPr>
            <a:r>
              <a:rPr lang="es-CL" sz="2200" dirty="0">
                <a:solidFill>
                  <a:srgbClr val="15BF45"/>
                </a:solidFill>
                <a:latin typeface="ACHS Nueva Serif" pitchFamily="2" charset="77"/>
              </a:rPr>
              <a:t>Faenas de moldaje y sus riesgos</a:t>
            </a:r>
            <a:r>
              <a:rPr lang="es-CL" sz="2200" dirty="0">
                <a:solidFill>
                  <a:srgbClr val="00B050"/>
                </a:solidFill>
                <a:latin typeface="ACHS Nueva Serif" pitchFamily="2" charset="77"/>
              </a:rPr>
              <a:t/>
            </a:r>
            <a:br>
              <a:rPr lang="es-CL" sz="2200" dirty="0">
                <a:solidFill>
                  <a:srgbClr val="00B050"/>
                </a:solidFill>
                <a:latin typeface="ACHS Nueva Serif" pitchFamily="2" charset="77"/>
              </a:rPr>
            </a:br>
            <a:r>
              <a:rPr lang="es-CL" sz="2200" dirty="0">
                <a:solidFill>
                  <a:srgbClr val="0C662F"/>
                </a:solidFill>
                <a:latin typeface="ACHS Nueva Serif" pitchFamily="2" charset="77"/>
              </a:rPr>
              <a:t>Carpintero de moldaje</a:t>
            </a:r>
          </a:p>
        </p:txBody>
      </p:sp>
      <p:pic>
        <p:nvPicPr>
          <p:cNvPr id="9" name="Imagen 5">
            <a:extLst>
              <a:ext uri="{FF2B5EF4-FFF2-40B4-BE49-F238E27FC236}">
                <a16:creationId xmlns:a16="http://schemas.microsoft.com/office/drawing/2014/main" xmlns="" id="{53DE2151-A66C-5A4F-9946-3EC01BAB6DD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56681" y="497023"/>
            <a:ext cx="1239794" cy="506480"/>
          </a:xfrm>
          <a:prstGeom prst="rect">
            <a:avLst/>
          </a:prstGeom>
        </p:spPr>
      </p:pic>
      <p:cxnSp>
        <p:nvCxnSpPr>
          <p:cNvPr id="13" name="Conector recto 6">
            <a:extLst>
              <a:ext uri="{FF2B5EF4-FFF2-40B4-BE49-F238E27FC236}">
                <a16:creationId xmlns:a16="http://schemas.microsoft.com/office/drawing/2014/main" xmlns="" id="{1C8EDC9E-A326-D14C-AEE3-EA89483BFADA}"/>
              </a:ext>
            </a:extLst>
          </p:cNvPr>
          <p:cNvCxnSpPr/>
          <p:nvPr/>
        </p:nvCxnSpPr>
        <p:spPr>
          <a:xfrm>
            <a:off x="511867" y="363806"/>
            <a:ext cx="1629316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0" name="Marcador de texto 31">
            <a:extLst>
              <a:ext uri="{FF2B5EF4-FFF2-40B4-BE49-F238E27FC236}">
                <a16:creationId xmlns:a16="http://schemas.microsoft.com/office/drawing/2014/main" xmlns="" id="{91C35597-D607-F34E-AAFD-61E69D3B4A91}"/>
              </a:ext>
            </a:extLst>
          </p:cNvPr>
          <p:cNvSpPr txBox="1">
            <a:spLocks/>
          </p:cNvSpPr>
          <p:nvPr/>
        </p:nvSpPr>
        <p:spPr>
          <a:xfrm>
            <a:off x="568550" y="1455995"/>
            <a:ext cx="3433449" cy="5478552"/>
          </a:xfrm>
          <a:prstGeom prst="rect">
            <a:avLst/>
          </a:prstGeom>
        </p:spPr>
        <p:txBody>
          <a:bodyPr>
            <a:norm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SzPct val="100000"/>
              <a:buNone/>
            </a:pPr>
            <a:r>
              <a:rPr lang="es-CL" altLang="es-CL" sz="1500" kern="0" dirty="0">
                <a:latin typeface="ACHS Nueva Sans Medium" pitchFamily="2" charset="77"/>
                <a:cs typeface="Arial" panose="020B0604020202020204" pitchFamily="34" charset="0"/>
              </a:rPr>
              <a:t>Trabajador especializado en la elaboración, construcción, montaje y  desmontaje de moldajes metálicos, de madera o de otros materiales para modelar el hormigón armado y construir elementos estructurales muros, pilares, losas, vigas, etc.</a:t>
            </a:r>
          </a:p>
          <a:p>
            <a:pPr marL="0" indent="0"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SzPct val="100000"/>
              <a:buNone/>
            </a:pPr>
            <a:endParaRPr lang="es-CL" altLang="es-CL" sz="1500" kern="0" dirty="0"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SzPct val="100000"/>
              <a:buNone/>
            </a:pPr>
            <a:r>
              <a:rPr lang="es-CL" altLang="es-CL" sz="1500" b="1" kern="0" dirty="0">
                <a:solidFill>
                  <a:srgbClr val="15BF45"/>
                </a:solidFill>
                <a:latin typeface="ACHS Nueva Sans SemiBold" pitchFamily="2" charset="77"/>
                <a:cs typeface="Arial" panose="020B0604020202020204" pitchFamily="34" charset="0"/>
              </a:rPr>
              <a:t>Tareas que realiza:</a:t>
            </a:r>
          </a:p>
          <a:p>
            <a:pPr marL="0" indent="0"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SzPct val="100000"/>
              <a:buNone/>
            </a:pPr>
            <a:endParaRPr lang="es-CL" altLang="es-CL" sz="1500" kern="0" dirty="0">
              <a:latin typeface="ACHS Nueva Sans Medium" pitchFamily="2" charset="77"/>
              <a:cs typeface="Arial" panose="020B0604020202020204" pitchFamily="34" charset="0"/>
            </a:endParaRPr>
          </a:p>
          <a:p>
            <a:pPr marL="261256" lvl="1" indent="-261256"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SzPct val="100000"/>
              <a:buFont typeface="Arial" panose="020B0604020202020204" pitchFamily="34" charset="0"/>
              <a:buChar char="•"/>
            </a:pPr>
            <a:r>
              <a:rPr lang="es-CL" altLang="es-CL" sz="1500" kern="0" dirty="0">
                <a:latin typeface="ACHS Nueva Sans Medium" pitchFamily="2" charset="77"/>
                <a:cs typeface="Arial" panose="020B0604020202020204" pitchFamily="34" charset="0"/>
              </a:rPr>
              <a:t>Instala puntales, vigas y placas de moldaje de losa.</a:t>
            </a:r>
          </a:p>
          <a:p>
            <a:pPr marL="261256" lvl="1" indent="-261256"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SzPct val="100000"/>
              <a:buFont typeface="Arial" panose="020B0604020202020204" pitchFamily="34" charset="0"/>
              <a:buChar char="•"/>
            </a:pPr>
            <a:r>
              <a:rPr lang="es-CL" altLang="es-CL" sz="1500" kern="0" dirty="0">
                <a:latin typeface="ACHS Nueva Sans Medium" pitchFamily="2" charset="77"/>
                <a:cs typeface="Arial" panose="020B0604020202020204" pitchFamily="34" charset="0"/>
              </a:rPr>
              <a:t>Instala moldajes y puntales de moldaje de muro.</a:t>
            </a:r>
          </a:p>
          <a:p>
            <a:pPr marL="261256" lvl="1" indent="-261256"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SzPct val="100000"/>
              <a:buFont typeface="Arial" panose="020B0604020202020204" pitchFamily="34" charset="0"/>
              <a:buChar char="•"/>
            </a:pPr>
            <a:r>
              <a:rPr lang="es-CL" altLang="es-CL" sz="1500" kern="0" dirty="0">
                <a:latin typeface="ACHS Nueva Sans Medium" pitchFamily="2" charset="77"/>
                <a:cs typeface="Arial" panose="020B0604020202020204" pitchFamily="34" charset="0"/>
              </a:rPr>
              <a:t>Descimbra.</a:t>
            </a:r>
          </a:p>
          <a:p>
            <a:pPr marL="261256" lvl="1" indent="-261256"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SzPct val="100000"/>
              <a:buFont typeface="Arial" panose="020B0604020202020204" pitchFamily="34" charset="0"/>
              <a:buChar char="•"/>
            </a:pPr>
            <a:r>
              <a:rPr lang="es-CL" altLang="es-CL" sz="1500" kern="0" dirty="0">
                <a:latin typeface="ACHS Nueva Sans Medium" pitchFamily="2" charset="77"/>
                <a:cs typeface="Arial" panose="020B0604020202020204" pitchFamily="34" charset="0"/>
              </a:rPr>
              <a:t>Realiza mantención a elementos de moldajes.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altLang="es-CL" sz="1600" kern="0" dirty="0"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altLang="es-CL" sz="1600" kern="0" dirty="0"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altLang="es-CL" sz="1600" kern="0" dirty="0"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sz="1600" kern="0" dirty="0"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sz="1600" kern="0" dirty="0">
              <a:latin typeface="ACHS Nueva Sans Medium" pitchFamily="2" charset="77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56934862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278467150"/>
              </p:ext>
            </p:extLst>
          </p:nvPr>
        </p:nvGraphicFramePr>
        <p:xfrm>
          <a:off x="2004" y="1210"/>
          <a:ext cx="1210" cy="12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35" name="Diapositiva de think-cell" r:id="rId6" imgW="415" imgH="416" progId="TCLayout.ActiveDocument.1">
                  <p:embed/>
                </p:oleObj>
              </mc:Choice>
              <mc:Fallback>
                <p:oleObj name="Diapositiva de think-cell" r:id="rId6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004" y="1210"/>
                        <a:ext cx="1210" cy="121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6 Imagen" descr="DSC_1303.JPG"/>
          <p:cNvPicPr preferRelativeResize="0">
            <a:picLocks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900" r="521"/>
          <a:stretch/>
        </p:blipFill>
        <p:spPr bwMode="auto">
          <a:xfrm>
            <a:off x="4501009" y="1468228"/>
            <a:ext cx="7708579" cy="540901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noFill/>
            <a:miter lim="800000"/>
          </a:ln>
          <a:effectLst>
            <a:reflection stA="0" endPos="65000" dist="50800" dir="5400000" sy="-100000" algn="bl" rotWithShape="0"/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sp>
        <p:nvSpPr>
          <p:cNvPr id="21" name="Marcador de texto 31">
            <a:extLst>
              <a:ext uri="{FF2B5EF4-FFF2-40B4-BE49-F238E27FC236}">
                <a16:creationId xmlns:a16="http://schemas.microsoft.com/office/drawing/2014/main" xmlns="" id="{BD869C79-D573-5A42-A9A7-38BC9DC42C05}"/>
              </a:ext>
            </a:extLst>
          </p:cNvPr>
          <p:cNvSpPr txBox="1">
            <a:spLocks/>
          </p:cNvSpPr>
          <p:nvPr/>
        </p:nvSpPr>
        <p:spPr>
          <a:xfrm>
            <a:off x="568550" y="1468228"/>
            <a:ext cx="3433449" cy="5201132"/>
          </a:xfrm>
          <a:prstGeom prst="rect">
            <a:avLst/>
          </a:prstGeom>
        </p:spPr>
        <p:txBody>
          <a:bodyPr>
            <a:norm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914"/>
              </a:spcBef>
              <a:buClr>
                <a:srgbClr val="83B827"/>
              </a:buClr>
              <a:buSzPct val="100000"/>
              <a:buNone/>
            </a:pPr>
            <a:r>
              <a:rPr lang="es-CL" sz="1800" kern="0" dirty="0">
                <a:solidFill>
                  <a:srgbClr val="15BF45"/>
                </a:solidFill>
                <a:latin typeface="ACHS Nueva Serif" pitchFamily="2" charset="77"/>
              </a:rPr>
              <a:t>Incidentes típicos en faenas de moldaje</a:t>
            </a:r>
            <a:r>
              <a:rPr lang="es-CL" sz="1800" kern="0" dirty="0">
                <a:solidFill>
                  <a:srgbClr val="00B050"/>
                </a:solidFill>
                <a:latin typeface="ACHS Nueva Serif" pitchFamily="2" charset="77"/>
              </a:rPr>
              <a:t>:</a:t>
            </a:r>
          </a:p>
          <a:p>
            <a:pPr marL="0" indent="0">
              <a:lnSpc>
                <a:spcPct val="100000"/>
              </a:lnSpc>
              <a:spcBef>
                <a:spcPts val="914"/>
              </a:spcBef>
              <a:buClr>
                <a:srgbClr val="83B827"/>
              </a:buClr>
              <a:buSzPct val="100000"/>
              <a:buNone/>
            </a:pPr>
            <a:endParaRPr lang="es-CL" altLang="es-CL" sz="1676" kern="0" dirty="0">
              <a:solidFill>
                <a:srgbClr val="8A8A8A">
                  <a:lumMod val="75000"/>
                </a:srgbClr>
              </a:solidFill>
            </a:endParaRPr>
          </a:p>
          <a:p>
            <a:pPr marL="261256" indent="-261256">
              <a:lnSpc>
                <a:spcPct val="100000"/>
              </a:lnSpc>
              <a:spcBef>
                <a:spcPts val="1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altLang="es-CL" sz="1500" dirty="0">
                <a:latin typeface="ACHS Nueva Sans Medium" pitchFamily="2" charset="77"/>
              </a:rPr>
              <a:t>Caída de personas desde altura durante la instalación del moldaje, al caminar o trabajar cerca de shaft.</a:t>
            </a:r>
          </a:p>
          <a:p>
            <a:pPr marL="261256" indent="-261256">
              <a:lnSpc>
                <a:spcPct val="100000"/>
              </a:lnSpc>
              <a:spcBef>
                <a:spcPts val="1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endParaRPr lang="es-CL" altLang="es-CL" sz="1500" dirty="0">
              <a:latin typeface="ACHS Nueva Sans Medium" pitchFamily="2" charset="77"/>
            </a:endParaRPr>
          </a:p>
          <a:p>
            <a:pPr marL="261256" indent="-261256">
              <a:lnSpc>
                <a:spcPct val="100000"/>
              </a:lnSpc>
              <a:spcBef>
                <a:spcPts val="1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altLang="es-CL" sz="1500" dirty="0">
                <a:latin typeface="ACHS Nueva Sans Medium" pitchFamily="2" charset="77"/>
              </a:rPr>
              <a:t>Caída por los moldajes de losas de escalera.</a:t>
            </a:r>
          </a:p>
          <a:p>
            <a:pPr marL="261256" indent="-261256">
              <a:lnSpc>
                <a:spcPct val="100000"/>
              </a:lnSpc>
              <a:spcBef>
                <a:spcPts val="1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endParaRPr lang="es-CL" altLang="es-CL" sz="1500" dirty="0">
              <a:latin typeface="ACHS Nueva Sans Medium" pitchFamily="2" charset="77"/>
            </a:endParaRPr>
          </a:p>
          <a:p>
            <a:pPr marL="261256" indent="-261256">
              <a:lnSpc>
                <a:spcPct val="100000"/>
              </a:lnSpc>
              <a:spcBef>
                <a:spcPts val="1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altLang="es-CL" sz="1500" dirty="0">
                <a:latin typeface="ACHS Nueva Sans Medium" pitchFamily="2" charset="77"/>
              </a:rPr>
              <a:t>Caída desde andamio.</a:t>
            </a:r>
          </a:p>
          <a:p>
            <a:pPr marL="0" indent="0">
              <a:lnSpc>
                <a:spcPct val="100000"/>
              </a:lnSpc>
              <a:spcBef>
                <a:spcPts val="100"/>
              </a:spcBef>
              <a:buClr>
                <a:srgbClr val="15C047"/>
              </a:buClr>
              <a:buNone/>
            </a:pPr>
            <a:endParaRPr lang="es-CL" altLang="es-CL" sz="1500" dirty="0">
              <a:latin typeface="ACHS Nueva Sans Medium" pitchFamily="2" charset="77"/>
            </a:endParaRPr>
          </a:p>
          <a:p>
            <a:pPr marL="261256" indent="-261256">
              <a:lnSpc>
                <a:spcPct val="100000"/>
              </a:lnSpc>
              <a:spcBef>
                <a:spcPts val="1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altLang="es-CL" sz="1500" dirty="0">
                <a:latin typeface="ACHS Nueva Sans Medium" pitchFamily="2" charset="77"/>
              </a:rPr>
              <a:t>Atrapamiento o golpes por la caída de material sobre las personas por apilado incorrecto; durante el transporte y recepción del material; durante los trabajos de descimbre.</a:t>
            </a:r>
          </a:p>
        </p:txBody>
      </p:sp>
      <p:pic>
        <p:nvPicPr>
          <p:cNvPr id="20" name="Imagen 5">
            <a:extLst>
              <a:ext uri="{FF2B5EF4-FFF2-40B4-BE49-F238E27FC236}">
                <a16:creationId xmlns:a16="http://schemas.microsoft.com/office/drawing/2014/main" xmlns="" id="{AEF29D57-2A6B-DE48-AA6C-A700FAB8384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56681" y="497023"/>
            <a:ext cx="1239794" cy="506480"/>
          </a:xfrm>
          <a:prstGeom prst="rect">
            <a:avLst/>
          </a:prstGeom>
        </p:spPr>
      </p:pic>
      <p:cxnSp>
        <p:nvCxnSpPr>
          <p:cNvPr id="24" name="Conector recto 6">
            <a:extLst>
              <a:ext uri="{FF2B5EF4-FFF2-40B4-BE49-F238E27FC236}">
                <a16:creationId xmlns:a16="http://schemas.microsoft.com/office/drawing/2014/main" xmlns="" id="{A2BC372A-1B48-BE44-9951-62D1463C63CD}"/>
              </a:ext>
            </a:extLst>
          </p:cNvPr>
          <p:cNvCxnSpPr/>
          <p:nvPr/>
        </p:nvCxnSpPr>
        <p:spPr>
          <a:xfrm>
            <a:off x="511867" y="363806"/>
            <a:ext cx="1629316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5" name="Título 30">
            <a:extLst>
              <a:ext uri="{FF2B5EF4-FFF2-40B4-BE49-F238E27FC236}">
                <a16:creationId xmlns:a16="http://schemas.microsoft.com/office/drawing/2014/main" xmlns="" id="{BF70722F-C857-6B43-99C7-7367470911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550" y="719469"/>
            <a:ext cx="5433730" cy="464608"/>
          </a:xfrm>
        </p:spPr>
        <p:txBody>
          <a:bodyPr vert="horz">
            <a:normAutofit fontScale="90000"/>
          </a:bodyPr>
          <a:lstStyle/>
          <a:p>
            <a:pPr>
              <a:lnSpc>
                <a:spcPct val="100000"/>
              </a:lnSpc>
            </a:pPr>
            <a:r>
              <a:rPr lang="es-CL" sz="2200" dirty="0">
                <a:solidFill>
                  <a:srgbClr val="15BF45"/>
                </a:solidFill>
                <a:latin typeface="ACHS Nueva Serif" pitchFamily="2" charset="77"/>
              </a:rPr>
              <a:t>Faenas de moldaje y sus riesgos</a:t>
            </a:r>
            <a:r>
              <a:rPr lang="es-CL" sz="2200" dirty="0">
                <a:solidFill>
                  <a:srgbClr val="00B050"/>
                </a:solidFill>
                <a:latin typeface="ACHS Nueva Serif" pitchFamily="2" charset="77"/>
              </a:rPr>
              <a:t/>
            </a:r>
            <a:br>
              <a:rPr lang="es-CL" sz="2200" dirty="0">
                <a:solidFill>
                  <a:srgbClr val="00B050"/>
                </a:solidFill>
                <a:latin typeface="ACHS Nueva Serif" pitchFamily="2" charset="77"/>
              </a:rPr>
            </a:br>
            <a:r>
              <a:rPr lang="es-CL" sz="2200" dirty="0">
                <a:solidFill>
                  <a:srgbClr val="0C662F"/>
                </a:solidFill>
                <a:latin typeface="ACHS Nueva Serif" pitchFamily="2" charset="77"/>
              </a:rPr>
              <a:t>Carpintero de moldaje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575448700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2004" y="1210"/>
          <a:ext cx="1210" cy="12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4967" name="Diapositiva de think-cell" r:id="rId6" imgW="415" imgH="416" progId="TCLayout.ActiveDocument.1">
                  <p:embed/>
                </p:oleObj>
              </mc:Choice>
              <mc:Fallback>
                <p:oleObj name="Diapositiva de think-cell" r:id="rId6" imgW="415" imgH="416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004" y="1210"/>
                        <a:ext cx="1210" cy="121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5 Imagen" descr="DSC_1344.JPG"/>
          <p:cNvPicPr preferRelativeResize="0">
            <a:picLocks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3910" b="19522"/>
          <a:stretch/>
        </p:blipFill>
        <p:spPr bwMode="auto">
          <a:xfrm>
            <a:off x="4525689" y="1468228"/>
            <a:ext cx="7691785" cy="538977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noFill/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sp>
        <p:nvSpPr>
          <p:cNvPr id="14" name="Marcador de texto 31">
            <a:extLst>
              <a:ext uri="{FF2B5EF4-FFF2-40B4-BE49-F238E27FC236}">
                <a16:creationId xmlns:a16="http://schemas.microsoft.com/office/drawing/2014/main" xmlns="" id="{697CCBAA-CDC5-8A43-820F-464AB90B1106}"/>
              </a:ext>
            </a:extLst>
          </p:cNvPr>
          <p:cNvSpPr txBox="1">
            <a:spLocks/>
          </p:cNvSpPr>
          <p:nvPr/>
        </p:nvSpPr>
        <p:spPr>
          <a:xfrm>
            <a:off x="568550" y="1468228"/>
            <a:ext cx="3433449" cy="5201132"/>
          </a:xfrm>
          <a:prstGeom prst="rect">
            <a:avLst/>
          </a:prstGeom>
        </p:spPr>
        <p:txBody>
          <a:bodyPr>
            <a:norm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914"/>
              </a:spcBef>
              <a:buClr>
                <a:srgbClr val="83B827"/>
              </a:buClr>
              <a:buSzPct val="100000"/>
              <a:buNone/>
            </a:pPr>
            <a:r>
              <a:rPr lang="es-CL" sz="1800" kern="0" dirty="0">
                <a:solidFill>
                  <a:srgbClr val="15BF45"/>
                </a:solidFill>
                <a:latin typeface="ACHS Nueva Serif" pitchFamily="2" charset="77"/>
              </a:rPr>
              <a:t>Incidentes típicos en faenas de moldaje:</a:t>
            </a:r>
          </a:p>
          <a:p>
            <a:pPr marL="0" indent="0">
              <a:lnSpc>
                <a:spcPct val="100000"/>
              </a:lnSpc>
              <a:spcBef>
                <a:spcPts val="914"/>
              </a:spcBef>
              <a:buClr>
                <a:srgbClr val="83B827"/>
              </a:buClr>
              <a:buSzPct val="100000"/>
              <a:buNone/>
            </a:pPr>
            <a:endParaRPr lang="es-CL" sz="1500" kern="0" dirty="0">
              <a:solidFill>
                <a:srgbClr val="00B050"/>
              </a:solidFill>
              <a:latin typeface="ACHS Nueva Serif" pitchFamily="2" charset="77"/>
            </a:endParaRPr>
          </a:p>
          <a:p>
            <a:pPr>
              <a:lnSpc>
                <a:spcPct val="100000"/>
              </a:lnSpc>
              <a:spcBef>
                <a:spcPts val="1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altLang="es-CL" sz="1500" dirty="0">
                <a:latin typeface="ACHS Nueva Sans Medium" pitchFamily="2" charset="77"/>
              </a:rPr>
              <a:t>Proyección de partículas a            los ojos. </a:t>
            </a:r>
          </a:p>
          <a:p>
            <a:pPr marL="0" indent="0">
              <a:lnSpc>
                <a:spcPct val="100000"/>
              </a:lnSpc>
              <a:spcBef>
                <a:spcPts val="100"/>
              </a:spcBef>
              <a:buClr>
                <a:srgbClr val="15C047"/>
              </a:buClr>
              <a:buNone/>
            </a:pPr>
            <a:endParaRPr lang="es-CL" altLang="es-CL" sz="1500" dirty="0">
              <a:latin typeface="ACHS Nueva Sans Medium" pitchFamily="2" charset="77"/>
            </a:endParaRPr>
          </a:p>
          <a:p>
            <a:pPr>
              <a:lnSpc>
                <a:spcPct val="100000"/>
              </a:lnSpc>
              <a:spcBef>
                <a:spcPts val="1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altLang="es-CL" sz="1500" dirty="0">
                <a:latin typeface="ACHS Nueva Sans Medium" pitchFamily="2" charset="77"/>
              </a:rPr>
              <a:t>Sobreesfuerzos por carga de elementos pesados.</a:t>
            </a:r>
          </a:p>
          <a:p>
            <a:pPr>
              <a:lnSpc>
                <a:spcPct val="100000"/>
              </a:lnSpc>
              <a:spcBef>
                <a:spcPts val="1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endParaRPr lang="es-CL" altLang="es-CL" sz="1500" dirty="0">
              <a:latin typeface="ACHS Nueva Sans Medium" pitchFamily="2" charset="77"/>
            </a:endParaRPr>
          </a:p>
          <a:p>
            <a:pPr>
              <a:lnSpc>
                <a:spcPct val="100000"/>
              </a:lnSpc>
              <a:spcBef>
                <a:spcPts val="1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altLang="es-CL" sz="1500" dirty="0">
                <a:latin typeface="ACHS Nueva Sans Medium" pitchFamily="2" charset="77"/>
              </a:rPr>
              <a:t>Contacto con objetos o superficies </a:t>
            </a:r>
            <a:r>
              <a:rPr lang="es-CL" altLang="es-CL" sz="1500" dirty="0" smtClean="0">
                <a:latin typeface="ACHS Nueva Sans Medium" pitchFamily="2" charset="77"/>
              </a:rPr>
              <a:t>abrasivas.</a:t>
            </a:r>
            <a:endParaRPr lang="es-CL" altLang="es-CL" sz="1500" dirty="0">
              <a:latin typeface="ACHS Nueva Sans Medium" pitchFamily="2" charset="77"/>
            </a:endParaRPr>
          </a:p>
          <a:p>
            <a:pPr>
              <a:lnSpc>
                <a:spcPct val="100000"/>
              </a:lnSpc>
              <a:spcBef>
                <a:spcPts val="1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endParaRPr lang="es-CL" altLang="es-CL" sz="1500" dirty="0">
              <a:latin typeface="ACHS Nueva Sans Medium" pitchFamily="2" charset="77"/>
            </a:endParaRPr>
          </a:p>
          <a:p>
            <a:pPr>
              <a:lnSpc>
                <a:spcPct val="100000"/>
              </a:lnSpc>
              <a:spcBef>
                <a:spcPts val="1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altLang="es-CL" sz="1500" dirty="0">
                <a:latin typeface="ACHS Nueva Sans Medium" pitchFamily="2" charset="77"/>
              </a:rPr>
              <a:t>Contacto con productos químicos (desmoldante).</a:t>
            </a:r>
          </a:p>
          <a:p>
            <a:pPr>
              <a:lnSpc>
                <a:spcPct val="100000"/>
              </a:lnSpc>
              <a:spcBef>
                <a:spcPts val="1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endParaRPr lang="es-CL" altLang="es-CL" sz="1500" dirty="0">
              <a:latin typeface="ACHS Nueva Sans Medium" pitchFamily="2" charset="77"/>
            </a:endParaRPr>
          </a:p>
          <a:p>
            <a:pPr>
              <a:lnSpc>
                <a:spcPct val="100000"/>
              </a:lnSpc>
              <a:spcBef>
                <a:spcPts val="1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altLang="es-CL" sz="1500" dirty="0">
                <a:latin typeface="ACHS Nueva Sans Medium" pitchFamily="2" charset="77"/>
              </a:rPr>
              <a:t>Ruido por la herramientas.</a:t>
            </a:r>
          </a:p>
          <a:p>
            <a:pPr>
              <a:lnSpc>
                <a:spcPct val="100000"/>
              </a:lnSpc>
              <a:spcBef>
                <a:spcPts val="1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endParaRPr lang="es-CL" altLang="es-CL" sz="1500" dirty="0">
              <a:latin typeface="ACHS Nueva Sans Medium" pitchFamily="2" charset="77"/>
            </a:endParaRPr>
          </a:p>
          <a:p>
            <a:pPr>
              <a:lnSpc>
                <a:spcPct val="100000"/>
              </a:lnSpc>
              <a:spcBef>
                <a:spcPts val="1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altLang="es-CL" sz="1500" dirty="0">
                <a:latin typeface="ACHS Nueva Sans Medium" pitchFamily="2" charset="77"/>
              </a:rPr>
              <a:t>Cortes al utilizar las sierras circulares o </a:t>
            </a:r>
            <a:r>
              <a:rPr lang="es-CL" altLang="es-CL" sz="1500" dirty="0" err="1" smtClean="0">
                <a:latin typeface="ACHS Nueva Sans Medium" pitchFamily="2" charset="77"/>
              </a:rPr>
              <a:t>cepilladoras</a:t>
            </a:r>
            <a:r>
              <a:rPr lang="es-CL" altLang="es-CL" sz="1500" dirty="0" smtClean="0">
                <a:latin typeface="ACHS Nueva Sans Medium" pitchFamily="2" charset="77"/>
              </a:rPr>
              <a:t>.</a:t>
            </a:r>
            <a:endParaRPr lang="es-CL" altLang="es-CL" sz="1500" dirty="0">
              <a:latin typeface="ACHS Nueva Sans Medium" pitchFamily="2" charset="77"/>
            </a:endParaRPr>
          </a:p>
          <a:p>
            <a:pPr algn="just">
              <a:lnSpc>
                <a:spcPct val="100000"/>
              </a:lnSpc>
              <a:spcBef>
                <a:spcPts val="914"/>
              </a:spcBef>
              <a:buClr>
                <a:srgbClr val="83B827"/>
              </a:buClr>
              <a:buSzPct val="100000"/>
              <a:buFont typeface="Arial" panose="020B0604020202020204" pitchFamily="34" charset="0"/>
              <a:buChar char="•"/>
            </a:pPr>
            <a:endParaRPr lang="es-CL" altLang="es-CL" sz="1676" kern="0" dirty="0">
              <a:solidFill>
                <a:srgbClr val="8A8A8A">
                  <a:lumMod val="75000"/>
                </a:srgbClr>
              </a:solidFill>
            </a:endParaRPr>
          </a:p>
        </p:txBody>
      </p:sp>
      <p:pic>
        <p:nvPicPr>
          <p:cNvPr id="16" name="Imagen 5">
            <a:extLst>
              <a:ext uri="{FF2B5EF4-FFF2-40B4-BE49-F238E27FC236}">
                <a16:creationId xmlns:a16="http://schemas.microsoft.com/office/drawing/2014/main" xmlns="" id="{57050E48-982F-7D4E-BEF3-F269E2F9852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56681" y="497023"/>
            <a:ext cx="1239794" cy="506480"/>
          </a:xfrm>
          <a:prstGeom prst="rect">
            <a:avLst/>
          </a:prstGeom>
        </p:spPr>
      </p:pic>
      <p:cxnSp>
        <p:nvCxnSpPr>
          <p:cNvPr id="17" name="Conector recto 6">
            <a:extLst>
              <a:ext uri="{FF2B5EF4-FFF2-40B4-BE49-F238E27FC236}">
                <a16:creationId xmlns:a16="http://schemas.microsoft.com/office/drawing/2014/main" xmlns="" id="{D56DB3AA-71A4-664C-972D-1648274DA87B}"/>
              </a:ext>
            </a:extLst>
          </p:cNvPr>
          <p:cNvCxnSpPr/>
          <p:nvPr/>
        </p:nvCxnSpPr>
        <p:spPr>
          <a:xfrm>
            <a:off x="511867" y="363806"/>
            <a:ext cx="1629316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9" name="Título 30">
            <a:extLst>
              <a:ext uri="{FF2B5EF4-FFF2-40B4-BE49-F238E27FC236}">
                <a16:creationId xmlns:a16="http://schemas.microsoft.com/office/drawing/2014/main" xmlns="" id="{A803D14C-F3CC-E348-A73A-F80FA19CB4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550" y="719469"/>
            <a:ext cx="5433730" cy="464608"/>
          </a:xfrm>
        </p:spPr>
        <p:txBody>
          <a:bodyPr vert="horz">
            <a:normAutofit fontScale="90000"/>
          </a:bodyPr>
          <a:lstStyle/>
          <a:p>
            <a:pPr>
              <a:lnSpc>
                <a:spcPct val="100000"/>
              </a:lnSpc>
            </a:pPr>
            <a:r>
              <a:rPr lang="es-CL" sz="2200" dirty="0">
                <a:solidFill>
                  <a:srgbClr val="15BF45"/>
                </a:solidFill>
                <a:latin typeface="ACHS Nueva Serif" pitchFamily="2" charset="77"/>
              </a:rPr>
              <a:t>Faenas de moldaje y sus riesgos</a:t>
            </a:r>
            <a:r>
              <a:rPr lang="es-CL" sz="2200" dirty="0">
                <a:solidFill>
                  <a:srgbClr val="00B050"/>
                </a:solidFill>
                <a:latin typeface="ACHS Nueva Serif" pitchFamily="2" charset="77"/>
              </a:rPr>
              <a:t/>
            </a:r>
            <a:br>
              <a:rPr lang="es-CL" sz="2200" dirty="0">
                <a:solidFill>
                  <a:srgbClr val="00B050"/>
                </a:solidFill>
                <a:latin typeface="ACHS Nueva Serif" pitchFamily="2" charset="77"/>
              </a:rPr>
            </a:br>
            <a:r>
              <a:rPr lang="es-CL" sz="2200" dirty="0">
                <a:solidFill>
                  <a:srgbClr val="0C662F"/>
                </a:solidFill>
                <a:latin typeface="ACHS Nueva Serif" pitchFamily="2" charset="77"/>
              </a:rPr>
              <a:t>Carpintero de moldaje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073629833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883905051"/>
              </p:ext>
            </p:extLst>
          </p:nvPr>
        </p:nvGraphicFramePr>
        <p:xfrm>
          <a:off x="2004" y="1210"/>
          <a:ext cx="1210" cy="12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883" name="Diapositiva de think-cell" r:id="rId6" imgW="415" imgH="416" progId="TCLayout.ActiveDocument.1">
                  <p:embed/>
                </p:oleObj>
              </mc:Choice>
              <mc:Fallback>
                <p:oleObj name="Diapositiva de think-cell" r:id="rId6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004" y="1210"/>
                        <a:ext cx="1210" cy="121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6 Imagen" descr="DSC_1474.JPG"/>
          <p:cNvPicPr preferRelativeResize="0">
            <a:picLocks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503" r="289"/>
          <a:stretch/>
        </p:blipFill>
        <p:spPr bwMode="auto">
          <a:xfrm>
            <a:off x="4512718" y="1484784"/>
            <a:ext cx="7708579" cy="537321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noFill/>
            <a:miter lim="800000"/>
          </a:ln>
          <a:effectLst/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sp>
        <p:nvSpPr>
          <p:cNvPr id="14" name="Marcador de texto 31">
            <a:extLst>
              <a:ext uri="{FF2B5EF4-FFF2-40B4-BE49-F238E27FC236}">
                <a16:creationId xmlns:a16="http://schemas.microsoft.com/office/drawing/2014/main" xmlns="" id="{16F86428-68AE-544A-BD46-315CCB0B169B}"/>
              </a:ext>
            </a:extLst>
          </p:cNvPr>
          <p:cNvSpPr txBox="1">
            <a:spLocks/>
          </p:cNvSpPr>
          <p:nvPr/>
        </p:nvSpPr>
        <p:spPr>
          <a:xfrm>
            <a:off x="568550" y="1468228"/>
            <a:ext cx="3433449" cy="5201132"/>
          </a:xfrm>
          <a:prstGeom prst="rect">
            <a:avLst/>
          </a:prstGeom>
        </p:spPr>
        <p:txBody>
          <a:bodyPr>
            <a:norm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914"/>
              </a:spcBef>
              <a:buClr>
                <a:srgbClr val="83B827"/>
              </a:buClr>
              <a:buSzPct val="100000"/>
              <a:buNone/>
            </a:pPr>
            <a:r>
              <a:rPr lang="es-CL" sz="1800" kern="0" dirty="0">
                <a:solidFill>
                  <a:srgbClr val="15BF45"/>
                </a:solidFill>
                <a:latin typeface="ACHS Nueva Serif" pitchFamily="2" charset="77"/>
              </a:rPr>
              <a:t>Incidentes típicos en faenas      de moldaje:</a:t>
            </a:r>
          </a:p>
          <a:p>
            <a:pPr marL="0" indent="0">
              <a:lnSpc>
                <a:spcPct val="100000"/>
              </a:lnSpc>
              <a:spcBef>
                <a:spcPts val="914"/>
              </a:spcBef>
              <a:buClr>
                <a:srgbClr val="83B827"/>
              </a:buClr>
              <a:buSzPct val="100000"/>
              <a:buNone/>
            </a:pPr>
            <a:endParaRPr lang="es-CL" altLang="es-CL" sz="1676" kern="0" dirty="0">
              <a:solidFill>
                <a:srgbClr val="8A8A8A">
                  <a:lumMod val="75000"/>
                </a:srgbClr>
              </a:solidFill>
            </a:endParaRPr>
          </a:p>
          <a:p>
            <a:pPr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altLang="es-CL" sz="1500" dirty="0">
                <a:latin typeface="ACHS Nueva Sans Medium" pitchFamily="2" charset="77"/>
              </a:rPr>
              <a:t>Caídas a causa de superficies mojadas o húmedas. </a:t>
            </a:r>
          </a:p>
          <a:p>
            <a:pPr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endParaRPr lang="es-CL" altLang="es-CL" sz="1500" dirty="0">
              <a:latin typeface="ACHS Nueva Sans Medium" pitchFamily="2" charset="77"/>
            </a:endParaRPr>
          </a:p>
          <a:p>
            <a:pPr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altLang="es-CL" sz="1500" dirty="0">
                <a:latin typeface="ACHS Nueva Sans Medium" pitchFamily="2" charset="77"/>
              </a:rPr>
              <a:t>Pisar sobre objetos punzantes.</a:t>
            </a:r>
          </a:p>
          <a:p>
            <a:pPr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endParaRPr lang="es-CL" altLang="es-CL" sz="1500" dirty="0">
              <a:latin typeface="ACHS Nueva Sans Medium" pitchFamily="2" charset="77"/>
            </a:endParaRPr>
          </a:p>
          <a:p>
            <a:pPr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altLang="es-CL" sz="1500" dirty="0">
                <a:latin typeface="ACHS Nueva Sans Medium" pitchFamily="2" charset="77"/>
              </a:rPr>
              <a:t>Contacto con energía eléctrica.</a:t>
            </a:r>
          </a:p>
          <a:p>
            <a:pPr algn="just">
              <a:lnSpc>
                <a:spcPct val="100000"/>
              </a:lnSpc>
              <a:spcBef>
                <a:spcPts val="914"/>
              </a:spcBef>
              <a:buClr>
                <a:srgbClr val="83B827"/>
              </a:buClr>
              <a:buSzPct val="100000"/>
              <a:buFont typeface="Arial" panose="020B0604020202020204" pitchFamily="34" charset="0"/>
              <a:buChar char="•"/>
            </a:pPr>
            <a:endParaRPr lang="es-CL" altLang="es-CL" sz="1676" kern="0" dirty="0">
              <a:solidFill>
                <a:srgbClr val="8A8A8A">
                  <a:lumMod val="75000"/>
                </a:srgbClr>
              </a:solidFill>
            </a:endParaRPr>
          </a:p>
        </p:txBody>
      </p:sp>
      <p:pic>
        <p:nvPicPr>
          <p:cNvPr id="16" name="Imagen 5">
            <a:extLst>
              <a:ext uri="{FF2B5EF4-FFF2-40B4-BE49-F238E27FC236}">
                <a16:creationId xmlns:a16="http://schemas.microsoft.com/office/drawing/2014/main" xmlns="" id="{63149981-A3ED-ED4A-952B-384B792C191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56681" y="497023"/>
            <a:ext cx="1239794" cy="506480"/>
          </a:xfrm>
          <a:prstGeom prst="rect">
            <a:avLst/>
          </a:prstGeom>
        </p:spPr>
      </p:pic>
      <p:cxnSp>
        <p:nvCxnSpPr>
          <p:cNvPr id="17" name="Conector recto 6">
            <a:extLst>
              <a:ext uri="{FF2B5EF4-FFF2-40B4-BE49-F238E27FC236}">
                <a16:creationId xmlns:a16="http://schemas.microsoft.com/office/drawing/2014/main" xmlns="" id="{B45842C3-83FC-944D-988B-49D904C8FF2A}"/>
              </a:ext>
            </a:extLst>
          </p:cNvPr>
          <p:cNvCxnSpPr/>
          <p:nvPr/>
        </p:nvCxnSpPr>
        <p:spPr>
          <a:xfrm>
            <a:off x="511867" y="363806"/>
            <a:ext cx="1629316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9" name="Título 30">
            <a:extLst>
              <a:ext uri="{FF2B5EF4-FFF2-40B4-BE49-F238E27FC236}">
                <a16:creationId xmlns:a16="http://schemas.microsoft.com/office/drawing/2014/main" xmlns="" id="{AE81544D-1A18-874F-8AA1-BF762D0BCA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550" y="719469"/>
            <a:ext cx="5433730" cy="464608"/>
          </a:xfrm>
        </p:spPr>
        <p:txBody>
          <a:bodyPr vert="horz">
            <a:normAutofit fontScale="90000"/>
          </a:bodyPr>
          <a:lstStyle/>
          <a:p>
            <a:pPr>
              <a:lnSpc>
                <a:spcPct val="100000"/>
              </a:lnSpc>
            </a:pPr>
            <a:r>
              <a:rPr lang="es-CL" sz="2200" dirty="0">
                <a:solidFill>
                  <a:srgbClr val="15BF45"/>
                </a:solidFill>
                <a:latin typeface="ACHS Nueva Serif" pitchFamily="2" charset="77"/>
              </a:rPr>
              <a:t>Fanas de moldaje y sus riesgos </a:t>
            </a:r>
            <a:r>
              <a:rPr lang="es-CL" sz="2200" dirty="0">
                <a:solidFill>
                  <a:srgbClr val="00B050"/>
                </a:solidFill>
                <a:latin typeface="ACHS Nueva Serif" pitchFamily="2" charset="77"/>
              </a:rPr>
              <a:t/>
            </a:r>
            <a:br>
              <a:rPr lang="es-CL" sz="2200" dirty="0">
                <a:solidFill>
                  <a:srgbClr val="00B050"/>
                </a:solidFill>
                <a:latin typeface="ACHS Nueva Serif" pitchFamily="2" charset="77"/>
              </a:rPr>
            </a:br>
            <a:r>
              <a:rPr lang="es-CL" sz="2200" dirty="0">
                <a:solidFill>
                  <a:srgbClr val="0C662F"/>
                </a:solidFill>
                <a:latin typeface="ACHS Nueva Serif" pitchFamily="2" charset="77"/>
              </a:rPr>
              <a:t>Carpintero de moldaje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537858150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42473473"/>
              </p:ext>
            </p:extLst>
          </p:nvPr>
        </p:nvGraphicFramePr>
        <p:xfrm>
          <a:off x="2004" y="1210"/>
          <a:ext cx="1210" cy="12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907" name="Diapositiva de think-cell" r:id="rId6" imgW="415" imgH="416" progId="TCLayout.ActiveDocument.1">
                  <p:embed/>
                </p:oleObj>
              </mc:Choice>
              <mc:Fallback>
                <p:oleObj name="Diapositiva de think-cell" r:id="rId6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004" y="1210"/>
                        <a:ext cx="1210" cy="121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4 Imagen" descr="DSC_1470.JPG"/>
          <p:cNvPicPr preferRelativeResize="0">
            <a:picLocks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433" r="5017" b="-433"/>
          <a:stretch/>
        </p:blipFill>
        <p:spPr bwMode="auto">
          <a:xfrm>
            <a:off x="4512718" y="1518870"/>
            <a:ext cx="7680870" cy="536651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noFill/>
            <a:miter lim="800000"/>
          </a:ln>
          <a:effectLst/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sp>
        <p:nvSpPr>
          <p:cNvPr id="13" name="Marcador de texto 31">
            <a:extLst>
              <a:ext uri="{FF2B5EF4-FFF2-40B4-BE49-F238E27FC236}">
                <a16:creationId xmlns:a16="http://schemas.microsoft.com/office/drawing/2014/main" xmlns="" id="{647867EE-DDAB-3D4A-96CE-5E0D275F632A}"/>
              </a:ext>
            </a:extLst>
          </p:cNvPr>
          <p:cNvSpPr txBox="1">
            <a:spLocks/>
          </p:cNvSpPr>
          <p:nvPr/>
        </p:nvSpPr>
        <p:spPr>
          <a:xfrm>
            <a:off x="568550" y="1468228"/>
            <a:ext cx="3433449" cy="5201132"/>
          </a:xfrm>
          <a:prstGeom prst="rect">
            <a:avLst/>
          </a:prstGeom>
        </p:spPr>
        <p:txBody>
          <a:bodyPr>
            <a:norm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altLang="es-CL" sz="1500" dirty="0">
                <a:latin typeface="ACHS Nueva Sans Medium" pitchFamily="2" charset="77"/>
              </a:rPr>
              <a:t>Asegurar alzaprimas para evitar caídas o derrumbes de       la losa.</a:t>
            </a:r>
          </a:p>
          <a:p>
            <a:pPr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endParaRPr lang="es-CL" altLang="es-CL" sz="1500" dirty="0">
              <a:latin typeface="ACHS Nueva Sans Medium" pitchFamily="2" charset="77"/>
            </a:endParaRPr>
          </a:p>
          <a:p>
            <a:pPr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altLang="es-CL" sz="1500" dirty="0">
                <a:latin typeface="ACHS Nueva Sans Medium" pitchFamily="2" charset="77"/>
              </a:rPr>
              <a:t>Asegurarse que sólo se encuentre el personal autorizado a realizar la instalación de moldajes de muro y losas.</a:t>
            </a:r>
          </a:p>
          <a:p>
            <a:pPr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endParaRPr lang="es-CL" altLang="es-CL" sz="1500" dirty="0">
              <a:latin typeface="ACHS Nueva Sans Medium" pitchFamily="2" charset="77"/>
            </a:endParaRPr>
          </a:p>
          <a:p>
            <a:pPr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altLang="es-CL" sz="1500" dirty="0">
                <a:latin typeface="ACHS Nueva Sans Medium" pitchFamily="2" charset="77"/>
              </a:rPr>
              <a:t>Utilizar plataformas en volado por los perímetros exteriores de la edificación calculadas para la instalación de moldajes.</a:t>
            </a:r>
          </a:p>
          <a:p>
            <a:pPr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endParaRPr lang="es-CL" altLang="es-CL" sz="1500" dirty="0">
              <a:latin typeface="ACHS Nueva Sans Medium" pitchFamily="2" charset="77"/>
            </a:endParaRPr>
          </a:p>
          <a:p>
            <a:pPr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altLang="es-CL" sz="1500" dirty="0">
                <a:latin typeface="ACHS Nueva Sans Medium" pitchFamily="2" charset="77"/>
              </a:rPr>
              <a:t>No sobrecargar las superficies de trabajo.</a:t>
            </a:r>
          </a:p>
          <a:p>
            <a:pPr marL="0" indent="0"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None/>
            </a:pPr>
            <a:endParaRPr lang="es-CL" altLang="es-CL" sz="1600" dirty="0">
              <a:latin typeface="ACHS Nueva Sans Medium" pitchFamily="2" charset="77"/>
            </a:endParaRPr>
          </a:p>
          <a:p>
            <a:pPr algn="just">
              <a:lnSpc>
                <a:spcPct val="100000"/>
              </a:lnSpc>
              <a:spcBef>
                <a:spcPts val="914"/>
              </a:spcBef>
              <a:buClr>
                <a:srgbClr val="83B827"/>
              </a:buClr>
              <a:buSzPct val="100000"/>
              <a:buFont typeface="Arial" panose="020B0604020202020204" pitchFamily="34" charset="0"/>
              <a:buChar char="•"/>
            </a:pPr>
            <a:endParaRPr lang="es-CL" altLang="es-CL" sz="1676" kern="0" dirty="0">
              <a:solidFill>
                <a:srgbClr val="8A8A8A">
                  <a:lumMod val="75000"/>
                </a:srgbClr>
              </a:solidFill>
            </a:endParaRPr>
          </a:p>
        </p:txBody>
      </p:sp>
      <p:pic>
        <p:nvPicPr>
          <p:cNvPr id="14" name="Imagen 5">
            <a:extLst>
              <a:ext uri="{FF2B5EF4-FFF2-40B4-BE49-F238E27FC236}">
                <a16:creationId xmlns:a16="http://schemas.microsoft.com/office/drawing/2014/main" xmlns="" id="{EB2886E6-9CBD-924A-9DAF-68A1A2EA8B9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56681" y="497023"/>
            <a:ext cx="1239794" cy="506480"/>
          </a:xfrm>
          <a:prstGeom prst="rect">
            <a:avLst/>
          </a:prstGeom>
        </p:spPr>
      </p:pic>
      <p:cxnSp>
        <p:nvCxnSpPr>
          <p:cNvPr id="16" name="Conector recto 6">
            <a:extLst>
              <a:ext uri="{FF2B5EF4-FFF2-40B4-BE49-F238E27FC236}">
                <a16:creationId xmlns:a16="http://schemas.microsoft.com/office/drawing/2014/main" xmlns="" id="{14AE0374-D674-AA4D-842A-30B5ED66D1DA}"/>
              </a:ext>
            </a:extLst>
          </p:cNvPr>
          <p:cNvCxnSpPr/>
          <p:nvPr/>
        </p:nvCxnSpPr>
        <p:spPr>
          <a:xfrm>
            <a:off x="511867" y="363806"/>
            <a:ext cx="1629316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0" name="Título 30">
            <a:extLst>
              <a:ext uri="{FF2B5EF4-FFF2-40B4-BE49-F238E27FC236}">
                <a16:creationId xmlns:a16="http://schemas.microsoft.com/office/drawing/2014/main" xmlns="" id="{5889ACE2-2BBD-A342-B21E-EF3300F3CBF3}"/>
              </a:ext>
            </a:extLst>
          </p:cNvPr>
          <p:cNvSpPr txBox="1">
            <a:spLocks/>
          </p:cNvSpPr>
          <p:nvPr/>
        </p:nvSpPr>
        <p:spPr>
          <a:xfrm>
            <a:off x="568550" y="719469"/>
            <a:ext cx="5433730" cy="46460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3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396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es-CL" sz="2000" kern="0" dirty="0">
                <a:solidFill>
                  <a:srgbClr val="15BF45"/>
                </a:solidFill>
                <a:latin typeface="ACHS Nueva Serif" pitchFamily="2" charset="77"/>
              </a:rPr>
              <a:t>Medidas preventivas en labores de moldaje</a:t>
            </a:r>
            <a:r>
              <a:rPr lang="es-CL" sz="2000" dirty="0">
                <a:solidFill>
                  <a:srgbClr val="00B050"/>
                </a:solidFill>
                <a:latin typeface="ACHS Nueva Serif" pitchFamily="2" charset="77"/>
              </a:rPr>
              <a:t/>
            </a:r>
            <a:br>
              <a:rPr lang="es-CL" sz="2000" dirty="0">
                <a:solidFill>
                  <a:srgbClr val="00B050"/>
                </a:solidFill>
                <a:latin typeface="ACHS Nueva Serif" pitchFamily="2" charset="77"/>
              </a:rPr>
            </a:br>
            <a:r>
              <a:rPr lang="es-CL" sz="2000" dirty="0">
                <a:solidFill>
                  <a:srgbClr val="0C662F"/>
                </a:solidFill>
                <a:latin typeface="ACHS Nueva Serif" pitchFamily="2" charset="77"/>
              </a:rPr>
              <a:t>Carpintero de moldaje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68104189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3 Imagen" descr="DSC_1480.JPG"/>
          <p:cNvPicPr preferRelativeResize="0">
            <a:picLocks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264" r="163"/>
          <a:stretch/>
        </p:blipFill>
        <p:spPr bwMode="auto">
          <a:xfrm>
            <a:off x="4512718" y="1495612"/>
            <a:ext cx="7680870" cy="538977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noFill/>
            <a:miter lim="800000"/>
          </a:ln>
          <a:effectLst/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99640406"/>
              </p:ext>
            </p:extLst>
          </p:nvPr>
        </p:nvGraphicFramePr>
        <p:xfrm>
          <a:off x="2004" y="1210"/>
          <a:ext cx="1210" cy="12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931" name="Diapositiva de think-cell" r:id="rId7" imgW="415" imgH="416" progId="TCLayout.ActiveDocument.1">
                  <p:embed/>
                </p:oleObj>
              </mc:Choice>
              <mc:Fallback>
                <p:oleObj name="Diapositiva de think-cell" r:id="rId7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004" y="1210"/>
                        <a:ext cx="1210" cy="121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Marcador de texto 31">
            <a:extLst>
              <a:ext uri="{FF2B5EF4-FFF2-40B4-BE49-F238E27FC236}">
                <a16:creationId xmlns:a16="http://schemas.microsoft.com/office/drawing/2014/main" xmlns="" id="{3289ED94-DCD4-F84C-8B88-0E994254940B}"/>
              </a:ext>
            </a:extLst>
          </p:cNvPr>
          <p:cNvSpPr txBox="1">
            <a:spLocks/>
          </p:cNvSpPr>
          <p:nvPr/>
        </p:nvSpPr>
        <p:spPr>
          <a:xfrm>
            <a:off x="568550" y="1468228"/>
            <a:ext cx="3433449" cy="5201132"/>
          </a:xfrm>
          <a:prstGeom prst="rect">
            <a:avLst/>
          </a:prstGeom>
        </p:spPr>
        <p:txBody>
          <a:bodyPr>
            <a:norm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altLang="es-CL" sz="1500" dirty="0">
                <a:latin typeface="ACHS Nueva Sans Medium" pitchFamily="2" charset="77"/>
              </a:rPr>
              <a:t>Se evitará permanecer cerca de las zonas de cargas durante las operaciones de levantamiento y transporte de materiales. </a:t>
            </a:r>
          </a:p>
          <a:p>
            <a:pPr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endParaRPr lang="es-CL" altLang="es-CL" sz="1500" dirty="0">
              <a:latin typeface="ACHS Nueva Sans Medium" pitchFamily="2" charset="77"/>
            </a:endParaRPr>
          </a:p>
          <a:p>
            <a:pPr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altLang="es-CL" sz="1500" dirty="0">
                <a:latin typeface="ACHS Nueva Sans Medium" pitchFamily="2" charset="77"/>
              </a:rPr>
              <a:t>Tiene que procurar mantener el orden y la limpieza de su lugar de trabajo.</a:t>
            </a:r>
          </a:p>
          <a:p>
            <a:pPr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endParaRPr lang="es-CL" altLang="es-CL" sz="1500" dirty="0">
              <a:latin typeface="ACHS Nueva Sans Medium" pitchFamily="2" charset="77"/>
            </a:endParaRPr>
          </a:p>
          <a:p>
            <a:pPr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altLang="es-CL" sz="1500" dirty="0">
                <a:latin typeface="ACHS Nueva Sans Medium" pitchFamily="2" charset="77"/>
              </a:rPr>
              <a:t>Respetar las zonas de acopio, tanto de material a utilizar como de restos de materiales. </a:t>
            </a:r>
          </a:p>
          <a:p>
            <a:pPr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endParaRPr lang="es-CL" altLang="es-CL" sz="1500" dirty="0">
              <a:latin typeface="ACHS Nueva Sans Medium" pitchFamily="2" charset="77"/>
            </a:endParaRPr>
          </a:p>
          <a:p>
            <a:pPr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altLang="es-CL" sz="1500" dirty="0">
                <a:latin typeface="ACHS Nueva Sans Medium" pitchFamily="2" charset="77"/>
              </a:rPr>
              <a:t>Cuando los moldajes estén montados, el supervisor debe comprobar su estabilidad y el estado de las alzaprimas antes de acceder a los mismos. </a:t>
            </a:r>
          </a:p>
          <a:p>
            <a:pPr marL="0" indent="0">
              <a:lnSpc>
                <a:spcPct val="100000"/>
              </a:lnSpc>
              <a:spcBef>
                <a:spcPts val="200"/>
              </a:spcBef>
              <a:buClr>
                <a:srgbClr val="15C047"/>
              </a:buClr>
              <a:buNone/>
            </a:pPr>
            <a:endParaRPr lang="es-CL" altLang="es-CL" sz="1600" dirty="0">
              <a:latin typeface="ACHS Nueva Sans Medium" pitchFamily="2" charset="77"/>
            </a:endParaRPr>
          </a:p>
          <a:p>
            <a:pPr algn="just">
              <a:lnSpc>
                <a:spcPct val="100000"/>
              </a:lnSpc>
              <a:spcBef>
                <a:spcPts val="914"/>
              </a:spcBef>
              <a:buClr>
                <a:srgbClr val="83B827"/>
              </a:buClr>
              <a:buSzPct val="100000"/>
              <a:buFont typeface="Arial" panose="020B0604020202020204" pitchFamily="34" charset="0"/>
              <a:buChar char="•"/>
            </a:pPr>
            <a:endParaRPr lang="es-CL" altLang="es-CL" sz="1676" kern="0" dirty="0">
              <a:solidFill>
                <a:srgbClr val="8A8A8A">
                  <a:lumMod val="75000"/>
                </a:srgbClr>
              </a:solidFill>
            </a:endParaRPr>
          </a:p>
        </p:txBody>
      </p:sp>
      <p:pic>
        <p:nvPicPr>
          <p:cNvPr id="13" name="Imagen 5">
            <a:extLst>
              <a:ext uri="{FF2B5EF4-FFF2-40B4-BE49-F238E27FC236}">
                <a16:creationId xmlns:a16="http://schemas.microsoft.com/office/drawing/2014/main" xmlns="" id="{C0017727-21DC-C44F-951C-771EB3A3FED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56681" y="497023"/>
            <a:ext cx="1239794" cy="506480"/>
          </a:xfrm>
          <a:prstGeom prst="rect">
            <a:avLst/>
          </a:prstGeom>
        </p:spPr>
      </p:pic>
      <p:cxnSp>
        <p:nvCxnSpPr>
          <p:cNvPr id="14" name="Conector recto 6">
            <a:extLst>
              <a:ext uri="{FF2B5EF4-FFF2-40B4-BE49-F238E27FC236}">
                <a16:creationId xmlns:a16="http://schemas.microsoft.com/office/drawing/2014/main" xmlns="" id="{62F8C7E7-3A1A-1142-A8AB-59C483552E2A}"/>
              </a:ext>
            </a:extLst>
          </p:cNvPr>
          <p:cNvCxnSpPr/>
          <p:nvPr/>
        </p:nvCxnSpPr>
        <p:spPr>
          <a:xfrm>
            <a:off x="511867" y="363806"/>
            <a:ext cx="1629316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3" name="Título 30">
            <a:extLst>
              <a:ext uri="{FF2B5EF4-FFF2-40B4-BE49-F238E27FC236}">
                <a16:creationId xmlns:a16="http://schemas.microsoft.com/office/drawing/2014/main" xmlns="" id="{76C01613-D87F-1C4F-9013-CA0D2E4FE4A5}"/>
              </a:ext>
            </a:extLst>
          </p:cNvPr>
          <p:cNvSpPr txBox="1">
            <a:spLocks/>
          </p:cNvSpPr>
          <p:nvPr/>
        </p:nvSpPr>
        <p:spPr>
          <a:xfrm>
            <a:off x="568550" y="719469"/>
            <a:ext cx="5433730" cy="46460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3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396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es-CL" sz="2000" kern="0" dirty="0">
                <a:solidFill>
                  <a:srgbClr val="15BF45"/>
                </a:solidFill>
                <a:latin typeface="ACHS Nueva Serif" pitchFamily="2" charset="77"/>
              </a:rPr>
              <a:t>Medidas preventivas en labores de moldaje</a:t>
            </a:r>
            <a:r>
              <a:rPr lang="es-CL" sz="2000" dirty="0">
                <a:solidFill>
                  <a:srgbClr val="00B050"/>
                </a:solidFill>
                <a:latin typeface="ACHS Nueva Serif" pitchFamily="2" charset="77"/>
              </a:rPr>
              <a:t/>
            </a:r>
            <a:br>
              <a:rPr lang="es-CL" sz="2000" dirty="0">
                <a:solidFill>
                  <a:srgbClr val="00B050"/>
                </a:solidFill>
                <a:latin typeface="ACHS Nueva Serif" pitchFamily="2" charset="77"/>
              </a:rPr>
            </a:br>
            <a:r>
              <a:rPr lang="es-CL" sz="2000" dirty="0">
                <a:solidFill>
                  <a:srgbClr val="0C662F"/>
                </a:solidFill>
                <a:latin typeface="ACHS Nueva Serif" pitchFamily="2" charset="77"/>
              </a:rPr>
              <a:t>Carpintero de moldaje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767907943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ARTICULATE_DESIGN_ID_1_TEMA DE OFFICE" val="uO7uJhp3"/>
  <p:tag name="ARTICULATE_SLIDE_COUNT" val="29"/>
  <p:tag name="ARTICULATE_PROJECT_OPEN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Quiet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lantilla ACHS - ACHS " id="{19419B8D-C314-5542-9B80-DEB6F6691CFB}" vid="{79EE064A-CD47-7944-902B-FA8A120399C7}"/>
    </a:ext>
  </a:extLst>
</a:theme>
</file>

<file path=ppt/theme/theme3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Portadas y cierres_Achs Seguro Laboral">
  <a:themeElements>
    <a:clrScheme name="Seguro Laboral">
      <a:dk1>
        <a:srgbClr val="000000"/>
      </a:dk1>
      <a:lt1>
        <a:sysClr val="window" lastClr="FFFFFF"/>
      </a:lt1>
      <a:dk2>
        <a:srgbClr val="EAEADE"/>
      </a:dk2>
      <a:lt2>
        <a:srgbClr val="004C14"/>
      </a:lt2>
      <a:accent1>
        <a:srgbClr val="13C045"/>
      </a:accent1>
      <a:accent2>
        <a:srgbClr val="7EFF45"/>
      </a:accent2>
      <a:accent3>
        <a:srgbClr val="000000"/>
      </a:accent3>
      <a:accent4>
        <a:srgbClr val="27933E"/>
      </a:accent4>
      <a:accent5>
        <a:srgbClr val="81D877"/>
      </a:accent5>
      <a:accent6>
        <a:srgbClr val="27933E"/>
      </a:accent6>
      <a:hlink>
        <a:srgbClr val="13C045"/>
      </a:hlink>
      <a:folHlink>
        <a:srgbClr val="004C14"/>
      </a:folHlink>
    </a:clrScheme>
    <a:fontScheme name="Ach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lIns="0" tIns="0" rIns="0" bIns="0" rtlCol="0" anchor="t" anchorCtr="0"/>
      <a:lstStyle>
        <a:defPPr algn="l">
          <a:defRPr sz="140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1_Portadas y cierres_Achs Seguro Laboral">
  <a:themeElements>
    <a:clrScheme name="Seguro Laboral">
      <a:dk1>
        <a:srgbClr val="000000"/>
      </a:dk1>
      <a:lt1>
        <a:sysClr val="window" lastClr="FFFFFF"/>
      </a:lt1>
      <a:dk2>
        <a:srgbClr val="EAEADE"/>
      </a:dk2>
      <a:lt2>
        <a:srgbClr val="004C14"/>
      </a:lt2>
      <a:accent1>
        <a:srgbClr val="13C045"/>
      </a:accent1>
      <a:accent2>
        <a:srgbClr val="7EFF45"/>
      </a:accent2>
      <a:accent3>
        <a:srgbClr val="000000"/>
      </a:accent3>
      <a:accent4>
        <a:srgbClr val="27933E"/>
      </a:accent4>
      <a:accent5>
        <a:srgbClr val="81D877"/>
      </a:accent5>
      <a:accent6>
        <a:srgbClr val="27933E"/>
      </a:accent6>
      <a:hlink>
        <a:srgbClr val="13C045"/>
      </a:hlink>
      <a:folHlink>
        <a:srgbClr val="004C14"/>
      </a:folHlink>
    </a:clrScheme>
    <a:fontScheme name="Ach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lIns="0" tIns="0" rIns="0" bIns="0" rtlCol="0" anchor="t" anchorCtr="0"/>
      <a:lstStyle>
        <a:defPPr algn="l">
          <a:defRPr sz="140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2_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7C36543F3D857D488921B9E8F0F0A212" ma:contentTypeVersion="25" ma:contentTypeDescription="Crear nuevo documento." ma:contentTypeScope="" ma:versionID="9ee0241dd85c47aa0eb2b8bd4b0308e3">
  <xsd:schema xmlns:xsd="http://www.w3.org/2001/XMLSchema" xmlns:xs="http://www.w3.org/2001/XMLSchema" xmlns:p="http://schemas.microsoft.com/office/2006/metadata/properties" xmlns:ns2="1b271f39-b556-4564-846a-22e0c3543dec" xmlns:ns3="2c1f9411-02cd-4cb0-88d5-209d7ce520fa" targetNamespace="http://schemas.microsoft.com/office/2006/metadata/properties" ma:root="true" ma:fieldsID="93e81017037b805872da2c304f785326" ns2:_="" ns3:_="">
    <xsd:import namespace="1b271f39-b556-4564-846a-22e0c3543dec"/>
    <xsd:import namespace="2c1f9411-02cd-4cb0-88d5-209d7ce520f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MediaServiceObjectDetectorVersions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b271f39-b556-4564-846a-22e0c3543de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1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ObjectDetectorVersions" ma:index="12" nillable="true" ma:displayName="MediaServiceObjectDetectorVersions" ma:description="" ma:hidden="true" ma:internalName="MediaServiceObjectDetectorVersion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7" nillable="true" ma:taxonomy="true" ma:internalName="lcf76f155ced4ddcb4097134ff3c332f" ma:taxonomyFieldName="MediaServiceImageTags" ma:displayName="Etiquetas de imagen" ma:readOnly="false" ma:fieldId="{5cf76f15-5ced-4ddc-b409-7134ff3c332f}" ma:taxonomyMulti="true" ma:sspId="3502374b-82e5-4b34-b572-a4b8594eee8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c1f9411-02cd-4cb0-88d5-209d7ce520fa" elementFormDefault="qualified">
    <xsd:import namespace="http://schemas.microsoft.com/office/2006/documentManagement/types"/>
    <xsd:import namespace="http://schemas.microsoft.com/office/infopath/2007/PartnerControls"/>
    <xsd:element name="TaxCatchAll" ma:index="18" nillable="true" ma:displayName="Columna global de taxonomía" ma:hidden="true" ma:list="{35a76299-f8ab-42a3-92f7-492ebfc63ed6}" ma:internalName="TaxCatchAll" ma:showField="CatchAllData" ma:web="2c1f9411-02cd-4cb0-88d5-209d7ce520f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1b271f39-b556-4564-846a-22e0c3543dec">
      <Terms xmlns="http://schemas.microsoft.com/office/infopath/2007/PartnerControls"/>
    </lcf76f155ced4ddcb4097134ff3c332f>
    <TaxCatchAll xmlns="2c1f9411-02cd-4cb0-88d5-209d7ce520fa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F7BFB98-705E-4E42-9FA2-90DC48F94660}"/>
</file>

<file path=customXml/itemProps2.xml><?xml version="1.0" encoding="utf-8"?>
<ds:datastoreItem xmlns:ds="http://schemas.openxmlformats.org/officeDocument/2006/customXml" ds:itemID="{D76D8931-DC0D-40CC-BC2A-F5328FC155F1}">
  <ds:schemaRefs>
    <ds:schemaRef ds:uri="c16ff6dc-b593-43ff-bcca-b847aaf00eec"/>
    <ds:schemaRef ds:uri="http://schemas.microsoft.com/office/2006/documentManagement/types"/>
    <ds:schemaRef ds:uri="http://schemas.microsoft.com/office/infopath/2007/PartnerControls"/>
    <ds:schemaRef ds:uri="76aaf195-cc62-486d-835e-a1a076b740bc"/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D4E94521-6097-4424-AA83-67EC00D2051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7478</TotalTime>
  <Words>1851</Words>
  <Application>Microsoft Office PowerPoint</Application>
  <PresentationFormat>Personalizado</PresentationFormat>
  <Paragraphs>288</Paragraphs>
  <Slides>30</Slides>
  <Notes>27</Notes>
  <HiddenSlides>0</HiddenSlides>
  <MMClips>0</MMClips>
  <ScaleCrop>false</ScaleCrop>
  <HeadingPairs>
    <vt:vector size="8" baseType="variant">
      <vt:variant>
        <vt:lpstr>Fuentes usadas</vt:lpstr>
      </vt:variant>
      <vt:variant>
        <vt:i4>15</vt:i4>
      </vt:variant>
      <vt:variant>
        <vt:lpstr>Tema</vt:lpstr>
      </vt:variant>
      <vt:variant>
        <vt:i4>6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30</vt:i4>
      </vt:variant>
    </vt:vector>
  </HeadingPairs>
  <TitlesOfParts>
    <vt:vector size="52" baseType="lpstr">
      <vt:lpstr>.Lucida Grande UI Regular</vt:lpstr>
      <vt:lpstr>ACHS Nueva Sans</vt:lpstr>
      <vt:lpstr>ACHS Nueva Sans Medium</vt:lpstr>
      <vt:lpstr>ACHS Nueva Sans SemiBold</vt:lpstr>
      <vt:lpstr>ACHS Nueva Serif</vt:lpstr>
      <vt:lpstr>Arial</vt:lpstr>
      <vt:lpstr>Barlow Regular</vt:lpstr>
      <vt:lpstr>Calibri</vt:lpstr>
      <vt:lpstr>Calibri Light</vt:lpstr>
      <vt:lpstr>Helvetica</vt:lpstr>
      <vt:lpstr>Helvetica Neue</vt:lpstr>
      <vt:lpstr>Helvetica Neue Medium</vt:lpstr>
      <vt:lpstr>Tipo de letra del sistema regular</vt:lpstr>
      <vt:lpstr>Tw Cen MT</vt:lpstr>
      <vt:lpstr>Wingdings</vt:lpstr>
      <vt:lpstr>Quieta</vt:lpstr>
      <vt:lpstr>1_Tema de Office</vt:lpstr>
      <vt:lpstr>1_Custom Design</vt:lpstr>
      <vt:lpstr>Portadas y cierres_Achs Seguro Laboral</vt:lpstr>
      <vt:lpstr>1_Portadas y cierres_Achs Seguro Laboral</vt:lpstr>
      <vt:lpstr>2_Tema de Office</vt:lpstr>
      <vt:lpstr>Diapositiva de think-cell</vt:lpstr>
      <vt:lpstr>Presentación de PowerPoint</vt:lpstr>
      <vt:lpstr>Presentación de PowerPoint</vt:lpstr>
      <vt:lpstr>Introducción</vt:lpstr>
      <vt:lpstr>Faenas de moldaje y sus riesgos Carpintero de moldaje</vt:lpstr>
      <vt:lpstr>Faenas de moldaje y sus riesgos Carpintero de moldaje</vt:lpstr>
      <vt:lpstr>Faenas de moldaje y sus riesgos Carpintero de moldaje</vt:lpstr>
      <vt:lpstr>Fanas de moldaje y sus riesgos  Carpintero de moldaje</vt:lpstr>
      <vt:lpstr>Presentación de PowerPoint</vt:lpstr>
      <vt:lpstr>Presentación de PowerPoint</vt:lpstr>
      <vt:lpstr>Presentación de PowerPoint</vt:lpstr>
      <vt:lpstr>Medidas preventivas en el uso de escalas Carpintero de moldaje</vt:lpstr>
      <vt:lpstr>Medidas preventivas en el uso de escalas Carpintero de moldaje</vt:lpstr>
      <vt:lpstr>Medidas preventivas al borde de shaft Carpintero de moldaje</vt:lpstr>
      <vt:lpstr>Medidas preventivas al borde de vanos Carpintero de moldaje</vt:lpstr>
      <vt:lpstr>Medidas preventivas al borde de andamios Carpintero de moldaje</vt:lpstr>
      <vt:lpstr>Medidas preventivas al borde de andamios Carpintero de moldaje</vt:lpstr>
      <vt:lpstr>Medidas preventivas al borde de andamios Carpintero de moldaje</vt:lpstr>
      <vt:lpstr>Medidas preventivas al borde de andamios Carpintero de moldaje</vt:lpstr>
      <vt:lpstr>Medidas preventivas al borde de andamios Carpintero de moldaje</vt:lpstr>
      <vt:lpstr>Medidas preventivas al borde de andamios Carpintero de moldaje</vt:lpstr>
      <vt:lpstr>Uso de elementos de protección personal</vt:lpstr>
      <vt:lpstr>Sistema de protección de caídas</vt:lpstr>
      <vt:lpstr>Sistema de protección de caídas</vt:lpstr>
      <vt:lpstr>Sistema de protección de caídas</vt:lpstr>
      <vt:lpstr>Sistema de protección de caídas</vt:lpstr>
      <vt:lpstr>Requisitos para realizar trabajos en altura:</vt:lpstr>
      <vt:lpstr>Presentación de PowerPoint</vt:lpstr>
      <vt:lpstr>Presentación de PowerPoint</vt:lpstr>
      <vt:lpstr>Presentación de PowerPoint</vt:lpstr>
      <vt:lpstr>Presentación de PowerPoint</vt:lpstr>
    </vt:vector>
  </TitlesOfParts>
  <Company>Microsoft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arlos Saldaño Carreño</dc:creator>
  <cp:lastModifiedBy>Saldaño Carreño, Carlos Antonio</cp:lastModifiedBy>
  <cp:revision>585</cp:revision>
  <dcterms:created xsi:type="dcterms:W3CDTF">2018-04-16T12:09:27Z</dcterms:created>
  <dcterms:modified xsi:type="dcterms:W3CDTF">2025-02-04T13:18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C36543F3D857D488921B9E8F0F0A212</vt:lpwstr>
  </property>
  <property fmtid="{D5CDD505-2E9C-101B-9397-08002B2CF9AE}" pid="3" name="ArticulateGUID">
    <vt:lpwstr>FC57FD21-C180-4803-A767-206C2FCB9EE2</vt:lpwstr>
  </property>
  <property fmtid="{D5CDD505-2E9C-101B-9397-08002B2CF9AE}" pid="4" name="ArticulatePath">
    <vt:lpwstr>Charla_AM_Prevención_de_riesgos_en_trabajos_en_altura_-_Carpintero</vt:lpwstr>
  </property>
</Properties>
</file>